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2" r:id="rId4"/>
  </p:sldMasterIdLst>
  <p:notesMasterIdLst>
    <p:notesMasterId r:id="rId28"/>
  </p:notesMasterIdLst>
  <p:handoutMasterIdLst>
    <p:handoutMasterId r:id="rId29"/>
  </p:handoutMasterIdLst>
  <p:sldIdLst>
    <p:sldId id="622" r:id="rId5"/>
    <p:sldId id="581" r:id="rId6"/>
    <p:sldId id="598" r:id="rId7"/>
    <p:sldId id="614" r:id="rId8"/>
    <p:sldId id="607" r:id="rId9"/>
    <p:sldId id="608" r:id="rId10"/>
    <p:sldId id="609" r:id="rId11"/>
    <p:sldId id="611" r:id="rId12"/>
    <p:sldId id="604" r:id="rId13"/>
    <p:sldId id="612" r:id="rId14"/>
    <p:sldId id="623" r:id="rId15"/>
    <p:sldId id="619" r:id="rId16"/>
    <p:sldId id="633" r:id="rId17"/>
    <p:sldId id="637" r:id="rId18"/>
    <p:sldId id="634" r:id="rId19"/>
    <p:sldId id="618" r:id="rId20"/>
    <p:sldId id="624" r:id="rId21"/>
    <p:sldId id="625" r:id="rId22"/>
    <p:sldId id="626" r:id="rId23"/>
    <p:sldId id="627" r:id="rId24"/>
    <p:sldId id="638" r:id="rId25"/>
    <p:sldId id="621" r:id="rId26"/>
    <p:sldId id="539" r:id="rId27"/>
  </p:sldIdLst>
  <p:sldSz cx="9906000" cy="6858000" type="A4"/>
  <p:notesSz cx="6797675" cy="9926638"/>
  <p:custDataLst>
    <p:tags r:id="rId30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752" userDrawn="1">
          <p15:clr>
            <a:srgbClr val="A4A3A4"/>
          </p15:clr>
        </p15:guide>
        <p15:guide id="3" pos="6227" userDrawn="1">
          <p15:clr>
            <a:srgbClr val="A4A3A4"/>
          </p15:clr>
        </p15:guide>
        <p15:guide id="7" orient="horz" pos="1366" userDrawn="1">
          <p15:clr>
            <a:srgbClr val="A4A3A4"/>
          </p15:clr>
        </p15:guide>
        <p15:guide id="8" orient="horz" pos="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161E3E"/>
    <a:srgbClr val="FFF796"/>
    <a:srgbClr val="C6CDEB"/>
    <a:srgbClr val="09BAAD"/>
    <a:srgbClr val="8AD4EB"/>
    <a:srgbClr val="182044"/>
    <a:srgbClr val="202C5C"/>
    <a:srgbClr val="B3D7F7"/>
    <a:srgbClr val="2B548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32EABC-6A65-42BB-B401-660E24DD0AB8}" v="814" dt="2023-04-20T03:00:54.779"/>
    <p1510:client id="{8472ECB8-F9E0-4601-97F7-CD5843E52E4A}" v="1907" dt="2023-04-20T03:01:12.1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1752"/>
        <p:guide pos="6227"/>
        <p:guide orient="horz" pos="1366"/>
        <p:guide orient="horz" pos="343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ger Mais" userId="S::c0863147@mylambton.ca::6b6b0e9d-267a-4963-973d-c8b0db34df8a" providerId="AD" clId="Web-{63AD2BAE-433E-4DF0-BB7B-24A55BA8B41D}"/>
    <pc:docChg chg="addSld delSld modSld">
      <pc:chgData name="Roger Mais" userId="S::c0863147@mylambton.ca::6b6b0e9d-267a-4963-973d-c8b0db34df8a" providerId="AD" clId="Web-{63AD2BAE-433E-4DF0-BB7B-24A55BA8B41D}" dt="2023-04-13T22:46:35.274" v="27" actId="1076"/>
      <pc:docMkLst>
        <pc:docMk/>
      </pc:docMkLst>
      <pc:sldChg chg="del">
        <pc:chgData name="Roger Mais" userId="S::c0863147@mylambton.ca::6b6b0e9d-267a-4963-973d-c8b0db34df8a" providerId="AD" clId="Web-{63AD2BAE-433E-4DF0-BB7B-24A55BA8B41D}" dt="2023-04-13T22:44:29.210" v="2"/>
        <pc:sldMkLst>
          <pc:docMk/>
          <pc:sldMk cId="4186022670" sldId="617"/>
        </pc:sldMkLst>
      </pc:sldChg>
      <pc:sldChg chg="delSp">
        <pc:chgData name="Roger Mais" userId="S::c0863147@mylambton.ca::6b6b0e9d-267a-4963-973d-c8b0db34df8a" providerId="AD" clId="Web-{63AD2BAE-433E-4DF0-BB7B-24A55BA8B41D}" dt="2023-04-13T22:44:34.913" v="3"/>
        <pc:sldMkLst>
          <pc:docMk/>
          <pc:sldMk cId="3226856182" sldId="618"/>
        </pc:sldMkLst>
        <pc:spChg chg="del">
          <ac:chgData name="Roger Mais" userId="S::c0863147@mylambton.ca::6b6b0e9d-267a-4963-973d-c8b0db34df8a" providerId="AD" clId="Web-{63AD2BAE-433E-4DF0-BB7B-24A55BA8B41D}" dt="2023-04-13T22:44:34.913" v="3"/>
          <ac:spMkLst>
            <pc:docMk/>
            <pc:sldMk cId="3226856182" sldId="618"/>
            <ac:spMk id="3" creationId="{1DE1014C-35AB-631A-49B3-7485ADD8A8D5}"/>
          </ac:spMkLst>
        </pc:spChg>
      </pc:sldChg>
      <pc:sldChg chg="addSp delSp modSp new">
        <pc:chgData name="Roger Mais" userId="S::c0863147@mylambton.ca::6b6b0e9d-267a-4963-973d-c8b0db34df8a" providerId="AD" clId="Web-{63AD2BAE-433E-4DF0-BB7B-24A55BA8B41D}" dt="2023-04-13T22:45:12.398" v="9" actId="1076"/>
        <pc:sldMkLst>
          <pc:docMk/>
          <pc:sldMk cId="4028579692" sldId="624"/>
        </pc:sldMkLst>
        <pc:spChg chg="add del">
          <ac:chgData name="Roger Mais" userId="S::c0863147@mylambton.ca::6b6b0e9d-267a-4963-973d-c8b0db34df8a" providerId="AD" clId="Web-{63AD2BAE-433E-4DF0-BB7B-24A55BA8B41D}" dt="2023-04-13T22:44:45.226" v="4"/>
          <ac:spMkLst>
            <pc:docMk/>
            <pc:sldMk cId="4028579692" sldId="624"/>
            <ac:spMk id="4" creationId="{B711AC0C-EFC1-BBA8-15FD-14A4B4625BB9}"/>
          </ac:spMkLst>
        </pc:spChg>
        <pc:picChg chg="add mod">
          <ac:chgData name="Roger Mais" userId="S::c0863147@mylambton.ca::6b6b0e9d-267a-4963-973d-c8b0db34df8a" providerId="AD" clId="Web-{63AD2BAE-433E-4DF0-BB7B-24A55BA8B41D}" dt="2023-04-13T22:45:12.398" v="9" actId="1076"/>
          <ac:picMkLst>
            <pc:docMk/>
            <pc:sldMk cId="4028579692" sldId="624"/>
            <ac:picMk id="3" creationId="{30B36639-A1FB-DDFE-3EA5-17C260C09072}"/>
          </ac:picMkLst>
        </pc:picChg>
      </pc:sldChg>
      <pc:sldChg chg="addSp delSp modSp add replId">
        <pc:chgData name="Roger Mais" userId="S::c0863147@mylambton.ca::6b6b0e9d-267a-4963-973d-c8b0db34df8a" providerId="AD" clId="Web-{63AD2BAE-433E-4DF0-BB7B-24A55BA8B41D}" dt="2023-04-13T22:45:49.414" v="17" actId="1076"/>
        <pc:sldMkLst>
          <pc:docMk/>
          <pc:sldMk cId="1739270523" sldId="625"/>
        </pc:sldMkLst>
        <pc:picChg chg="del">
          <ac:chgData name="Roger Mais" userId="S::c0863147@mylambton.ca::6b6b0e9d-267a-4963-973d-c8b0db34df8a" providerId="AD" clId="Web-{63AD2BAE-433E-4DF0-BB7B-24A55BA8B41D}" dt="2023-04-13T22:45:25.664" v="13"/>
          <ac:picMkLst>
            <pc:docMk/>
            <pc:sldMk cId="1739270523" sldId="625"/>
            <ac:picMk id="3" creationId="{30B36639-A1FB-DDFE-3EA5-17C260C09072}"/>
          </ac:picMkLst>
        </pc:picChg>
        <pc:picChg chg="add mod">
          <ac:chgData name="Roger Mais" userId="S::c0863147@mylambton.ca::6b6b0e9d-267a-4963-973d-c8b0db34df8a" providerId="AD" clId="Web-{63AD2BAE-433E-4DF0-BB7B-24A55BA8B41D}" dt="2023-04-13T22:45:49.414" v="17" actId="1076"/>
          <ac:picMkLst>
            <pc:docMk/>
            <pc:sldMk cId="1739270523" sldId="625"/>
            <ac:picMk id="4" creationId="{7D78FBF2-7B08-E2C1-7C6A-002062DDC084}"/>
          </ac:picMkLst>
        </pc:picChg>
      </pc:sldChg>
      <pc:sldChg chg="addSp delSp modSp add replId">
        <pc:chgData name="Roger Mais" userId="S::c0863147@mylambton.ca::6b6b0e9d-267a-4963-973d-c8b0db34df8a" providerId="AD" clId="Web-{63AD2BAE-433E-4DF0-BB7B-24A55BA8B41D}" dt="2023-04-13T22:46:14.571" v="22" actId="1076"/>
        <pc:sldMkLst>
          <pc:docMk/>
          <pc:sldMk cId="810073572" sldId="626"/>
        </pc:sldMkLst>
        <pc:picChg chg="del">
          <ac:chgData name="Roger Mais" userId="S::c0863147@mylambton.ca::6b6b0e9d-267a-4963-973d-c8b0db34df8a" providerId="AD" clId="Web-{63AD2BAE-433E-4DF0-BB7B-24A55BA8B41D}" dt="2023-04-13T22:45:52.383" v="18"/>
          <ac:picMkLst>
            <pc:docMk/>
            <pc:sldMk cId="810073572" sldId="626"/>
            <ac:picMk id="3" creationId="{30B36639-A1FB-DDFE-3EA5-17C260C09072}"/>
          </ac:picMkLst>
        </pc:picChg>
        <pc:picChg chg="add mod">
          <ac:chgData name="Roger Mais" userId="S::c0863147@mylambton.ca::6b6b0e9d-267a-4963-973d-c8b0db34df8a" providerId="AD" clId="Web-{63AD2BAE-433E-4DF0-BB7B-24A55BA8B41D}" dt="2023-04-13T22:46:14.571" v="22" actId="1076"/>
          <ac:picMkLst>
            <pc:docMk/>
            <pc:sldMk cId="810073572" sldId="626"/>
            <ac:picMk id="4" creationId="{29AD41B9-C968-BDFA-23FA-59020ADB9974}"/>
          </ac:picMkLst>
        </pc:picChg>
      </pc:sldChg>
      <pc:sldChg chg="addSp delSp modSp add replId">
        <pc:chgData name="Roger Mais" userId="S::c0863147@mylambton.ca::6b6b0e9d-267a-4963-973d-c8b0db34df8a" providerId="AD" clId="Web-{63AD2BAE-433E-4DF0-BB7B-24A55BA8B41D}" dt="2023-04-13T22:46:35.274" v="27" actId="1076"/>
        <pc:sldMkLst>
          <pc:docMk/>
          <pc:sldMk cId="3790078528" sldId="627"/>
        </pc:sldMkLst>
        <pc:picChg chg="del">
          <ac:chgData name="Roger Mais" userId="S::c0863147@mylambton.ca::6b6b0e9d-267a-4963-973d-c8b0db34df8a" providerId="AD" clId="Web-{63AD2BAE-433E-4DF0-BB7B-24A55BA8B41D}" dt="2023-04-13T22:46:18.618" v="23"/>
          <ac:picMkLst>
            <pc:docMk/>
            <pc:sldMk cId="3790078528" sldId="627"/>
            <ac:picMk id="3" creationId="{30B36639-A1FB-DDFE-3EA5-17C260C09072}"/>
          </ac:picMkLst>
        </pc:picChg>
        <pc:picChg chg="add mod">
          <ac:chgData name="Roger Mais" userId="S::c0863147@mylambton.ca::6b6b0e9d-267a-4963-973d-c8b0db34df8a" providerId="AD" clId="Web-{63AD2BAE-433E-4DF0-BB7B-24A55BA8B41D}" dt="2023-04-13T22:46:35.274" v="27" actId="1076"/>
          <ac:picMkLst>
            <pc:docMk/>
            <pc:sldMk cId="3790078528" sldId="627"/>
            <ac:picMk id="4" creationId="{D019943F-187F-1430-E8C3-F8DEE94859AB}"/>
          </ac:picMkLst>
        </pc:picChg>
      </pc:sldChg>
    </pc:docChg>
  </pc:docChgLst>
  <pc:docChgLst>
    <pc:chgData name="Miraj Sinya" userId="a6e95797-5893-4261-9f10-8f81f198df75" providerId="ADAL" clId="{A4828A9C-58EF-4A2B-B124-6E606D7DB302}"/>
    <pc:docChg chg="undo redo custSel addSld delSld modSld">
      <pc:chgData name="Miraj Sinya" userId="a6e95797-5893-4261-9f10-8f81f198df75" providerId="ADAL" clId="{A4828A9C-58EF-4A2B-B124-6E606D7DB302}" dt="2023-04-14T23:51:26.646" v="505" actId="14100"/>
      <pc:docMkLst>
        <pc:docMk/>
      </pc:docMkLst>
      <pc:sldChg chg="addSp delSp modSp mod">
        <pc:chgData name="Miraj Sinya" userId="a6e95797-5893-4261-9f10-8f81f198df75" providerId="ADAL" clId="{A4828A9C-58EF-4A2B-B124-6E606D7DB302}" dt="2023-04-14T00:26:31.059" v="502" actId="1076"/>
        <pc:sldMkLst>
          <pc:docMk/>
          <pc:sldMk cId="2270713310" sldId="598"/>
        </pc:sldMkLst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9" creationId="{D68E2E6C-591B-2532-3244-CFBEB3D97303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0" creationId="{194C363E-8956-61DC-7AED-1A4D89D0CD8E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1" creationId="{3A3401B7-0B9A-64D3-FD38-0D7661AAC177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2" creationId="{8C63BD26-9DB2-6690-DBEA-64A1A7872482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3" creationId="{870E19FA-A503-4BB4-1309-FE812B2A0083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4" creationId="{8388DB81-DF81-4FFA-7CF6-137C2BFAE673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5" creationId="{86D889D8-F5A6-C97A-9028-43293FE71624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7" creationId="{3BF135E0-8D5C-E824-DC4F-E0B8023292B0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8" creationId="{00230051-6A9F-5AF4-C0A2-CFF5F2B67986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9" creationId="{E902FDB3-294B-A754-02B2-525D196A01F0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25" creationId="{7F6D9D56-FA06-FE8C-4412-DDCF7A3B76C2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26" creationId="{253AD0D3-4785-BD66-93EC-C2369DB15E3E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27" creationId="{8450EA4A-CF1A-E6F0-A0FB-20952272DCD9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29" creationId="{820D8888-DB2B-2224-A89D-902B31953387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31" creationId="{12F07E45-8ECE-FED8-3E02-EB6717A7F9B5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37" creationId="{0405C641-19C0-804F-704E-3B2CF82A1DC2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38" creationId="{A52F693B-2E26-34C3-BBC9-488E899AD1DD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40" creationId="{B2E7C7EA-B737-736F-8FEB-446BA2001AA7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41" creationId="{08A33A6B-1114-137B-5FEF-F28593A92B78}"/>
          </ac:spMkLst>
        </pc:spChg>
        <pc:spChg chg="mod topLvl">
          <ac:chgData name="Miraj Sinya" userId="a6e95797-5893-4261-9f10-8f81f198df75" providerId="ADAL" clId="{A4828A9C-58EF-4A2B-B124-6E606D7DB302}" dt="2023-04-14T00:26:31.059" v="502" actId="1076"/>
          <ac:spMkLst>
            <pc:docMk/>
            <pc:sldMk cId="2270713310" sldId="598"/>
            <ac:spMk id="42" creationId="{07901F46-999D-9599-80A5-952C25E4934D}"/>
          </ac:spMkLst>
        </pc:spChg>
        <pc:spChg chg="mod topLvl">
          <ac:chgData name="Miraj Sinya" userId="a6e95797-5893-4261-9f10-8f81f198df75" providerId="ADAL" clId="{A4828A9C-58EF-4A2B-B124-6E606D7DB302}" dt="2023-04-14T00:26:31.059" v="502" actId="1076"/>
          <ac:spMkLst>
            <pc:docMk/>
            <pc:sldMk cId="2270713310" sldId="598"/>
            <ac:spMk id="43" creationId="{5429FFFC-21E5-9AB6-653F-4E9EB0272F10}"/>
          </ac:spMkLst>
        </pc:spChg>
        <pc:spChg chg="mod topLvl">
          <ac:chgData name="Miraj Sinya" userId="a6e95797-5893-4261-9f10-8f81f198df75" providerId="ADAL" clId="{A4828A9C-58EF-4A2B-B124-6E606D7DB302}" dt="2023-04-14T00:26:31.059" v="502" actId="1076"/>
          <ac:spMkLst>
            <pc:docMk/>
            <pc:sldMk cId="2270713310" sldId="598"/>
            <ac:spMk id="44" creationId="{66A83041-8009-74B9-DC8D-760D13BCCD5D}"/>
          </ac:spMkLst>
        </pc:spChg>
        <pc:spChg chg="mod topLvl">
          <ac:chgData name="Miraj Sinya" userId="a6e95797-5893-4261-9f10-8f81f198df75" providerId="ADAL" clId="{A4828A9C-58EF-4A2B-B124-6E606D7DB302}" dt="2023-04-14T00:26:31.059" v="502" actId="1076"/>
          <ac:spMkLst>
            <pc:docMk/>
            <pc:sldMk cId="2270713310" sldId="598"/>
            <ac:spMk id="45" creationId="{8EC4A7CD-3F65-6DAB-0069-14CAF624F374}"/>
          </ac:spMkLst>
        </pc:spChg>
        <pc:spChg chg="mod topLvl">
          <ac:chgData name="Miraj Sinya" userId="a6e95797-5893-4261-9f10-8f81f198df75" providerId="ADAL" clId="{A4828A9C-58EF-4A2B-B124-6E606D7DB302}" dt="2023-04-14T00:26:31.059" v="502" actId="1076"/>
          <ac:spMkLst>
            <pc:docMk/>
            <pc:sldMk cId="2270713310" sldId="598"/>
            <ac:spMk id="46" creationId="{732D6F40-6BB6-B61F-B5D4-6ED14664FB5E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47" creationId="{6C2A5787-E9FE-3F54-31E8-A8A32278A8CC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48" creationId="{3E22BBCF-7641-59BC-D983-6FF39AB6B025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49" creationId="{C0F855B7-4CC4-2D79-BCE7-3B91A888B7DB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51" creationId="{FF8D7A68-8890-56DA-2DC5-9095A27AADDB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53" creationId="{49DF18EF-88EE-27E8-C598-618AFC55A609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54" creationId="{87BC25BA-267F-42D5-E179-6DCB3660A00D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55" creationId="{13B5E3E3-7C71-8E0A-4BC6-5A751E9DCC77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59" creationId="{25636ED2-C280-C3B9-4432-E5036C5D6EC7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60" creationId="{BFE7F602-4980-9420-92B7-CC205D756A7D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62" creationId="{3173DC67-D78A-36A1-8A6D-F09E1040DB16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63" creationId="{370E9CF7-7C75-02A8-7605-4F15DBCAA5D3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65" creationId="{72F1FAF7-4B96-54C1-AD0A-606B2F5C4346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69" creationId="{D51C7185-6514-40E9-8673-1E963920E5D8}"/>
          </ac:spMkLst>
        </pc:spChg>
        <pc:spChg chg="mod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71" creationId="{377E4BDE-57D2-C01A-F772-C4FC2B36FEA4}"/>
          </ac:spMkLst>
        </pc:spChg>
        <pc:spChg chg="mod">
          <ac:chgData name="Miraj Sinya" userId="a6e95797-5893-4261-9f10-8f81f198df75" providerId="ADAL" clId="{A4828A9C-58EF-4A2B-B124-6E606D7DB302}" dt="2023-04-12T01:43:41.741" v="117" actId="20577"/>
          <ac:spMkLst>
            <pc:docMk/>
            <pc:sldMk cId="2270713310" sldId="598"/>
            <ac:spMk id="80" creationId="{B49C802D-C6E1-DE26-D2E3-CD18BADF34EF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84" creationId="{492A38A8-3B5D-8B46-40EA-4C4EDD6B7D31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26" creationId="{547479F3-9607-4581-8142-1D09D147583D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27" creationId="{BDA10210-5F4C-9A7B-ACC5-34A0DF6E7188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28" creationId="{962B4B26-64CC-79DB-2B4A-211E5C7FEC1C}"/>
          </ac:spMkLst>
        </pc:spChg>
        <pc:spChg chg="mod topLvl">
          <ac:chgData name="Miraj Sinya" userId="a6e95797-5893-4261-9f10-8f81f198df75" providerId="ADAL" clId="{A4828A9C-58EF-4A2B-B124-6E606D7DB302}" dt="2023-04-14T00:26:06.720" v="501" actId="165"/>
          <ac:spMkLst>
            <pc:docMk/>
            <pc:sldMk cId="2270713310" sldId="598"/>
            <ac:spMk id="129" creationId="{E05E9642-0443-4E3A-BF85-B808DD4CA586}"/>
          </ac:spMkLst>
        </pc:spChg>
        <pc:grpChg chg="add del mod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5" creationId="{0C30B89E-5F87-C9C1-6BF6-702F34E3E5AF}"/>
          </ac:grpSpMkLst>
        </pc:grpChg>
        <pc:grpChg chg="add mod">
          <ac:chgData name="Miraj Sinya" userId="a6e95797-5893-4261-9f10-8f81f198df75" providerId="ADAL" clId="{A4828A9C-58EF-4A2B-B124-6E606D7DB302}" dt="2023-04-14T00:26:03.357" v="497" actId="164"/>
          <ac:grpSpMkLst>
            <pc:docMk/>
            <pc:sldMk cId="2270713310" sldId="598"/>
            <ac:grpSpMk id="7" creationId="{0FA1D351-C7DC-E763-7821-4247B6A7B221}"/>
          </ac:grpSpMkLst>
        </pc:grpChg>
        <pc:grpChg chg="add mod">
          <ac:chgData name="Miraj Sinya" userId="a6e95797-5893-4261-9f10-8f81f198df75" providerId="ADAL" clId="{A4828A9C-58EF-4A2B-B124-6E606D7DB302}" dt="2023-04-14T00:26:03.004" v="495" actId="164"/>
          <ac:grpSpMkLst>
            <pc:docMk/>
            <pc:sldMk cId="2270713310" sldId="598"/>
            <ac:grpSpMk id="8" creationId="{84420B71-8F13-807C-7B60-EE5B8AB91D3A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30" creationId="{07D8EC22-D5DB-5D52-5EEB-FC3D961B92CF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39" creationId="{2244FCFA-415A-2FC0-BD3E-55C740F16A3F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50" creationId="{C074825C-3988-3E07-9C98-66699B87058E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52" creationId="{48D845CF-9E0C-B429-9775-0D484E01EA66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58" creationId="{42E73C8D-8DE8-D7B3-5353-0907A4D9DE80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61" creationId="{463B5678-DD8B-845F-10A5-57D58B5E15CA}"/>
          </ac:grpSpMkLst>
        </pc:grpChg>
        <pc:grpChg chg="mod topLvl">
          <ac:chgData name="Miraj Sinya" userId="a6e95797-5893-4261-9f10-8f81f198df75" providerId="ADAL" clId="{A4828A9C-58EF-4A2B-B124-6E606D7DB302}" dt="2023-04-14T00:26:06.720" v="501" actId="165"/>
          <ac:grpSpMkLst>
            <pc:docMk/>
            <pc:sldMk cId="2270713310" sldId="598"/>
            <ac:grpSpMk id="64" creationId="{F65EA050-8FA9-F285-87A3-ADEABCA86E66}"/>
          </ac:grpSpMkLst>
        </pc:grpChg>
        <pc:picChg chg="add 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4" creationId="{DBA91034-864C-8B5E-1E9F-7A4DB98FA648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32" creationId="{47334B4F-4322-D7B4-99B1-B4765BB6C0A5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33" creationId="{9886B12F-4C2D-761E-FCC6-2239DB73A8CA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34" creationId="{B2E45DCC-FF10-8FD1-4369-017CC908AA53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35" creationId="{7D577EC4-A2DD-AD24-E454-B239F0956124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36" creationId="{64A5C6D0-36EF-0864-CC16-CBD82913197D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70" creationId="{6B4209CA-FC52-CFD1-8EC3-49D83F3BCB1A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79" creationId="{56FD70D9-530E-AB96-5F32-222B4E4518D9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1026" creationId="{F643AD0D-A7E7-36A0-3794-C9DED26CD08E}"/>
          </ac:picMkLst>
        </pc:picChg>
        <pc:picChg chg="mod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1028" creationId="{024E302B-F66A-42CD-0225-0E4B41919E3E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1044" creationId="{BA245991-5EA3-2C08-82C9-CBEB383EA6F2}"/>
          </ac:picMkLst>
        </pc:picChg>
        <pc:picChg chg="mod topLvl">
          <ac:chgData name="Miraj Sinya" userId="a6e95797-5893-4261-9f10-8f81f198df75" providerId="ADAL" clId="{A4828A9C-58EF-4A2B-B124-6E606D7DB302}" dt="2023-04-14T00:26:06.720" v="501" actId="165"/>
          <ac:picMkLst>
            <pc:docMk/>
            <pc:sldMk cId="2270713310" sldId="598"/>
            <ac:picMk id="1046" creationId="{BF6B4C31-1FAA-7456-15A4-E822D95B299B}"/>
          </ac:picMkLst>
        </pc:picChg>
        <pc:picChg chg="del">
          <ac:chgData name="Miraj Sinya" userId="a6e95797-5893-4261-9f10-8f81f198df75" providerId="ADAL" clId="{A4828A9C-58EF-4A2B-B124-6E606D7DB302}" dt="2023-04-14T00:21:54.682" v="470" actId="478"/>
          <ac:picMkLst>
            <pc:docMk/>
            <pc:sldMk cId="2270713310" sldId="598"/>
            <ac:picMk id="2050" creationId="{8AC29B49-AB04-2019-A4DE-092A0D1D57B5}"/>
          </ac:picMkLst>
        </pc:pic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3" creationId="{18472552-2D94-AAC1-41F8-A98A2B57E85A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16" creationId="{315FF501-2A3A-7301-238B-2AA170D24ABF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21" creationId="{35D1EBB1-D891-B8F6-3B8F-DEB018AC6A8B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22" creationId="{3D84FD24-EEBB-6C07-A276-F3F83800DCC7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23" creationId="{FE749042-19EE-B922-89AD-0A4363E64D3F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78" creationId="{93C56FD9-2EA9-BEF4-F1AC-398314F8D198}"/>
          </ac:cxnSpMkLst>
        </pc:cxnChg>
        <pc:cxnChg chg="mod topLvl">
          <ac:chgData name="Miraj Sinya" userId="a6e95797-5893-4261-9f10-8f81f198df75" providerId="ADAL" clId="{A4828A9C-58EF-4A2B-B124-6E606D7DB302}" dt="2023-04-14T00:26:06.720" v="501" actId="165"/>
          <ac:cxnSpMkLst>
            <pc:docMk/>
            <pc:sldMk cId="2270713310" sldId="598"/>
            <ac:cxnSpMk id="90" creationId="{A80B7CAF-CBD3-547F-8771-B49203EFDA02}"/>
          </ac:cxnSpMkLst>
        </pc:cxnChg>
      </pc:sldChg>
      <pc:sldChg chg="addSp delSp modSp mod">
        <pc:chgData name="Miraj Sinya" userId="a6e95797-5893-4261-9f10-8f81f198df75" providerId="ADAL" clId="{A4828A9C-58EF-4A2B-B124-6E606D7DB302}" dt="2023-04-14T23:51:26.646" v="505" actId="14100"/>
        <pc:sldMkLst>
          <pc:docMk/>
          <pc:sldMk cId="4008453649" sldId="604"/>
        </pc:sldMkLst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3" creationId="{97633B9B-F889-5D5E-0E5B-0D2A16FE163C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4" creationId="{3E0624C2-3CA4-C025-005E-D6AA6CA169DE}"/>
          </ac:spMkLst>
        </pc:spChg>
        <pc:spChg chg="mod">
          <ac:chgData name="Miraj Sinya" userId="a6e95797-5893-4261-9f10-8f81f198df75" providerId="ADAL" clId="{A4828A9C-58EF-4A2B-B124-6E606D7DB302}" dt="2023-04-12T02:48:16.085" v="249" actId="20577"/>
          <ac:spMkLst>
            <pc:docMk/>
            <pc:sldMk cId="4008453649" sldId="604"/>
            <ac:spMk id="24" creationId="{425C224F-CB61-6A7F-E057-9410AD5E58E0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26" creationId="{5AC3697F-6982-D642-1793-F336AC767421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27" creationId="{3A8E8C6A-580A-3B5A-5FB7-D230A786FADE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35" creationId="{AC9E11CE-AA4E-5386-609D-BE02B821CA0F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45" creationId="{2FEEC535-D9B3-0E08-34B0-80D250C15750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46" creationId="{2F4F2E94-F516-12F0-56B6-88EC9D31EEE3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48" creationId="{62F57B32-AC43-F98A-B78F-4B64A5038B5A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49" creationId="{B919168B-FEB3-0904-995B-4CDAF0DB151F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50" creationId="{9057268B-433B-A065-C201-B11D416E8BD8}"/>
          </ac:spMkLst>
        </pc:spChg>
        <pc:spChg chg="mod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51" creationId="{E5DCE7CD-4D4E-6F71-1ED4-3116BAFE78C1}"/>
          </ac:spMkLst>
        </pc:spChg>
        <pc:spChg chg="mod topLvl">
          <ac:chgData name="Miraj Sinya" userId="a6e95797-5893-4261-9f10-8f81f198df75" providerId="ADAL" clId="{A4828A9C-58EF-4A2B-B124-6E606D7DB302}" dt="2023-04-14T23:51:26.646" v="505" actId="14100"/>
          <ac:spMkLst>
            <pc:docMk/>
            <pc:sldMk cId="4008453649" sldId="604"/>
            <ac:spMk id="53" creationId="{501A5534-6B00-F762-7D4E-0BADDE3A51DF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54" creationId="{7CF55A49-EB64-CE0C-E4F2-6965442B0005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55" creationId="{9C35F43C-13D2-BAD5-DDF4-367EDC895F15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56" creationId="{51781712-9D58-4CF3-9C85-73E5DF4D7D2E}"/>
          </ac:spMkLst>
        </pc:spChg>
        <pc:spChg chg="mod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57" creationId="{E7340A8F-EFAF-D11D-DB91-982240AE1198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58" creationId="{34005C2C-028D-04E3-D8F4-AF76A4B1C8CB}"/>
          </ac:spMkLst>
        </pc:spChg>
        <pc:spChg chg="add del 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59" creationId="{98F72F23-F95B-EBEC-C183-63CBF3A1929F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60" creationId="{112B3C68-3149-EA51-FE6B-8CB5ADB1C7CF}"/>
          </ac:spMkLst>
        </pc:spChg>
        <pc:spChg chg="mod topLvl">
          <ac:chgData name="Miraj Sinya" userId="a6e95797-5893-4261-9f10-8f81f198df75" providerId="ADAL" clId="{A4828A9C-58EF-4A2B-B124-6E606D7DB302}" dt="2023-04-12T01:49:48.619" v="170" actId="164"/>
          <ac:spMkLst>
            <pc:docMk/>
            <pc:sldMk cId="4008453649" sldId="604"/>
            <ac:spMk id="62" creationId="{B56EAF3C-3E2E-DFA6-05BA-49C2E85265D9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63" creationId="{B9B46C4F-369C-4CE5-A6F9-2695C2E44E5A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65" creationId="{104CF63E-76E3-24B0-D541-30A12913A694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66" creationId="{B2E74B05-C79B-BD7E-8A57-E8628EC41275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67" creationId="{45E23E6B-EE20-53B3-7258-6302D1B2B9D7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91" creationId="{5DE652F2-3C31-3D3A-9A98-65EDE50A06D0}"/>
          </ac:spMkLst>
        </pc:spChg>
        <pc:spChg chg="mod topLvl">
          <ac:chgData name="Miraj Sinya" userId="a6e95797-5893-4261-9f10-8f81f198df75" providerId="ADAL" clId="{A4828A9C-58EF-4A2B-B124-6E606D7DB302}" dt="2023-04-12T01:49:49.189" v="171" actId="164"/>
          <ac:spMkLst>
            <pc:docMk/>
            <pc:sldMk cId="4008453649" sldId="604"/>
            <ac:spMk id="92" creationId="{3AA2A16C-491E-8787-B067-C6C2F9E40012}"/>
          </ac:spMkLst>
        </pc:spChg>
        <pc:spChg chg="mod">
          <ac:chgData name="Miraj Sinya" userId="a6e95797-5893-4261-9f10-8f81f198df75" providerId="ADAL" clId="{A4828A9C-58EF-4A2B-B124-6E606D7DB302}" dt="2023-04-12T02:44:12.760" v="177" actId="14100"/>
          <ac:spMkLst>
            <pc:docMk/>
            <pc:sldMk cId="4008453649" sldId="604"/>
            <ac:spMk id="114" creationId="{000AAA09-85FE-BBDD-6F28-0F249686B04C}"/>
          </ac:spMkLst>
        </pc:spChg>
        <pc:grpChg chg="del mod topLvl">
          <ac:chgData name="Miraj Sinya" userId="a6e95797-5893-4261-9f10-8f81f198df75" providerId="ADAL" clId="{A4828A9C-58EF-4A2B-B124-6E606D7DB302}" dt="2023-04-12T01:46:55.962" v="138" actId="165"/>
          <ac:grpSpMkLst>
            <pc:docMk/>
            <pc:sldMk cId="4008453649" sldId="604"/>
            <ac:grpSpMk id="5" creationId="{A38CD54F-E12C-4C9A-0EA1-79620C5F5A68}"/>
          </ac:grpSpMkLst>
        </pc:grpChg>
        <pc:grpChg chg="mod topLvl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6" creationId="{7FD4ED9B-3BD9-DF3D-FF76-0C9A91C85AC8}"/>
          </ac:grpSpMkLst>
        </pc:grpChg>
        <pc:grpChg chg="del mod topLvl">
          <ac:chgData name="Miraj Sinya" userId="a6e95797-5893-4261-9f10-8f81f198df75" providerId="ADAL" clId="{A4828A9C-58EF-4A2B-B124-6E606D7DB302}" dt="2023-04-12T01:46:55.619" v="137" actId="165"/>
          <ac:grpSpMkLst>
            <pc:docMk/>
            <pc:sldMk cId="4008453649" sldId="604"/>
            <ac:grpSpMk id="7" creationId="{FD3A8EEB-8ADC-9E31-4778-60323020E696}"/>
          </ac:grpSpMkLst>
        </pc:grpChg>
        <pc:grpChg chg="del mod topLvl">
          <ac:chgData name="Miraj Sinya" userId="a6e95797-5893-4261-9f10-8f81f198df75" providerId="ADAL" clId="{A4828A9C-58EF-4A2B-B124-6E606D7DB302}" dt="2023-04-12T01:46:57.584" v="140" actId="165"/>
          <ac:grpSpMkLst>
            <pc:docMk/>
            <pc:sldMk cId="4008453649" sldId="604"/>
            <ac:grpSpMk id="8" creationId="{F7C2D4F3-F7E5-3C6A-583C-1118E45F4252}"/>
          </ac:grpSpMkLst>
        </pc:grpChg>
        <pc:grpChg chg="del mod topLvl">
          <ac:chgData name="Miraj Sinya" userId="a6e95797-5893-4261-9f10-8f81f198df75" providerId="ADAL" clId="{A4828A9C-58EF-4A2B-B124-6E606D7DB302}" dt="2023-04-12T01:46:57.348" v="139" actId="165"/>
          <ac:grpSpMkLst>
            <pc:docMk/>
            <pc:sldMk cId="4008453649" sldId="604"/>
            <ac:grpSpMk id="11" creationId="{8895E81B-0943-F008-F195-8D1ACA300E5B}"/>
          </ac:grpSpMkLst>
        </pc:grpChg>
        <pc:grpChg chg="del mod topLvl">
          <ac:chgData name="Miraj Sinya" userId="a6e95797-5893-4261-9f10-8f81f198df75" providerId="ADAL" clId="{A4828A9C-58EF-4A2B-B124-6E606D7DB302}" dt="2023-04-12T01:46:52.804" v="134" actId="165"/>
          <ac:grpSpMkLst>
            <pc:docMk/>
            <pc:sldMk cId="4008453649" sldId="604"/>
            <ac:grpSpMk id="12" creationId="{B8E40FC2-BE51-DEA6-C862-CAE9D84319BB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15" creationId="{21DFAD16-CB08-DE9A-76F8-B89B1F60D52B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16" creationId="{BFD282B8-B98C-0974-1764-7CE4B24A9030}"/>
          </ac:grpSpMkLst>
        </pc:grpChg>
        <pc:grpChg chg="del mod topLvl">
          <ac:chgData name="Miraj Sinya" userId="a6e95797-5893-4261-9f10-8f81f198df75" providerId="ADAL" clId="{A4828A9C-58EF-4A2B-B124-6E606D7DB302}" dt="2023-04-12T01:46:52.804" v="134" actId="165"/>
          <ac:grpSpMkLst>
            <pc:docMk/>
            <pc:sldMk cId="4008453649" sldId="604"/>
            <ac:grpSpMk id="17" creationId="{0E232883-CEEA-DCB8-17DA-06DC904A8BD3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18" creationId="{AF8EB577-01E6-7FC2-3020-EDEAC661248D}"/>
          </ac:grpSpMkLst>
        </pc:grpChg>
        <pc:grpChg chg="del mod topLvl">
          <ac:chgData name="Miraj Sinya" userId="a6e95797-5893-4261-9f10-8f81f198df75" providerId="ADAL" clId="{A4828A9C-58EF-4A2B-B124-6E606D7DB302}" dt="2023-04-12T01:46:52.804" v="134" actId="165"/>
          <ac:grpSpMkLst>
            <pc:docMk/>
            <pc:sldMk cId="4008453649" sldId="604"/>
            <ac:grpSpMk id="19" creationId="{2584D36F-F859-5E19-BD9F-6A1BD3B7EFC5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20" creationId="{EA6D2C99-933E-9A59-5C21-3AE323C4EE49}"/>
          </ac:grpSpMkLst>
        </pc:grpChg>
        <pc:grpChg chg="del mod topLvl">
          <ac:chgData name="Miraj Sinya" userId="a6e95797-5893-4261-9f10-8f81f198df75" providerId="ADAL" clId="{A4828A9C-58EF-4A2B-B124-6E606D7DB302}" dt="2023-04-12T01:46:53.454" v="135" actId="165"/>
          <ac:grpSpMkLst>
            <pc:docMk/>
            <pc:sldMk cId="4008453649" sldId="604"/>
            <ac:grpSpMk id="21" creationId="{51110323-BAB3-9FDC-069B-05F204BA72AF}"/>
          </ac:grpSpMkLst>
        </pc:grpChg>
        <pc:grpChg chg="del mod topLvl">
          <ac:chgData name="Miraj Sinya" userId="a6e95797-5893-4261-9f10-8f81f198df75" providerId="ADAL" clId="{A4828A9C-58EF-4A2B-B124-6E606D7DB302}" dt="2023-04-12T01:46:53.454" v="135" actId="165"/>
          <ac:grpSpMkLst>
            <pc:docMk/>
            <pc:sldMk cId="4008453649" sldId="604"/>
            <ac:grpSpMk id="22" creationId="{B78147F5-B365-751E-EE6D-0F14C1DFB8C9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23" creationId="{DE10E3DC-EF70-1B1E-ED31-4CB855C10ACC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28" creationId="{CFA39D07-0D62-A0E5-D725-933874AD631B}"/>
          </ac:grpSpMkLst>
        </pc:grpChg>
        <pc:grpChg chg="del mod topLvl">
          <ac:chgData name="Miraj Sinya" userId="a6e95797-5893-4261-9f10-8f81f198df75" providerId="ADAL" clId="{A4828A9C-58EF-4A2B-B124-6E606D7DB302}" dt="2023-04-12T01:46:53.790" v="136" actId="165"/>
          <ac:grpSpMkLst>
            <pc:docMk/>
            <pc:sldMk cId="4008453649" sldId="604"/>
            <ac:grpSpMk id="29" creationId="{AB0A6348-ABB2-F031-5711-00C53D7C4820}"/>
          </ac:grpSpMkLst>
        </pc:grpChg>
        <pc:grpChg chg="del mod topLvl">
          <ac:chgData name="Miraj Sinya" userId="a6e95797-5893-4261-9f10-8f81f198df75" providerId="ADAL" clId="{A4828A9C-58EF-4A2B-B124-6E606D7DB302}" dt="2023-04-12T01:46:53.454" v="135" actId="165"/>
          <ac:grpSpMkLst>
            <pc:docMk/>
            <pc:sldMk cId="4008453649" sldId="604"/>
            <ac:grpSpMk id="30" creationId="{B1C5747D-BC5F-979A-8F97-4CC5155D0AB9}"/>
          </ac:grpSpMkLst>
        </pc:grpChg>
        <pc:grpChg chg="add mod">
          <ac:chgData name="Miraj Sinya" userId="a6e95797-5893-4261-9f10-8f81f198df75" providerId="ADAL" clId="{A4828A9C-58EF-4A2B-B124-6E606D7DB302}" dt="2023-04-12T01:49:49.189" v="171" actId="164"/>
          <ac:grpSpMkLst>
            <pc:docMk/>
            <pc:sldMk cId="4008453649" sldId="604"/>
            <ac:grpSpMk id="31" creationId="{61A4336F-BA8E-D550-DA5C-F6D0978CD103}"/>
          </ac:grpSpMkLst>
        </pc:grpChg>
        <pc:grpChg chg="del mod topLvl">
          <ac:chgData name="Miraj Sinya" userId="a6e95797-5893-4261-9f10-8f81f198df75" providerId="ADAL" clId="{A4828A9C-58EF-4A2B-B124-6E606D7DB302}" dt="2023-04-12T01:46:53.454" v="135" actId="165"/>
          <ac:grpSpMkLst>
            <pc:docMk/>
            <pc:sldMk cId="4008453649" sldId="604"/>
            <ac:grpSpMk id="32" creationId="{27DE9C8E-C881-8739-89DD-87F3AD3193D8}"/>
          </ac:grpSpMkLst>
        </pc:grpChg>
        <pc:grpChg chg="del mod topLvl">
          <ac:chgData name="Miraj Sinya" userId="a6e95797-5893-4261-9f10-8f81f198df75" providerId="ADAL" clId="{A4828A9C-58EF-4A2B-B124-6E606D7DB302}" dt="2023-04-12T01:46:52.804" v="134" actId="165"/>
          <ac:grpSpMkLst>
            <pc:docMk/>
            <pc:sldMk cId="4008453649" sldId="604"/>
            <ac:grpSpMk id="33" creationId="{B91C6879-EF9B-7982-DB88-1636A3C4B7C9}"/>
          </ac:grpSpMkLst>
        </pc:grpChg>
        <pc:grpChg chg="del">
          <ac:chgData name="Miraj Sinya" userId="a6e95797-5893-4261-9f10-8f81f198df75" providerId="ADAL" clId="{A4828A9C-58EF-4A2B-B124-6E606D7DB302}" dt="2023-04-12T01:46:51.738" v="133" actId="165"/>
          <ac:grpSpMkLst>
            <pc:docMk/>
            <pc:sldMk cId="4008453649" sldId="604"/>
            <ac:grpSpMk id="34" creationId="{79D02044-5779-E1AF-2119-0B708099D2B9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36" creationId="{2D1B45EF-C550-8072-DAAB-703FD5A71583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37" creationId="{9313089D-72A8-E7B2-FE75-D9E8382E2036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38" creationId="{9C49C10D-2060-3731-63CA-587BF2333671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39" creationId="{7832AB89-9D1A-5890-35AE-8ABC8F34B3EF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40" creationId="{47E5B1DF-C59A-3059-2506-EC4AF3F71672}"/>
          </ac:grpSpMkLst>
        </pc:grpChg>
        <pc:grpChg chg="add del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41" creationId="{EAA1920E-71BC-D034-6F07-40DB73F86CA1}"/>
          </ac:grpSpMkLst>
        </pc:grpChg>
        <pc:grpChg chg="add mod">
          <ac:chgData name="Miraj Sinya" userId="a6e95797-5893-4261-9f10-8f81f198df75" providerId="ADAL" clId="{A4828A9C-58EF-4A2B-B124-6E606D7DB302}" dt="2023-04-12T01:49:50.490" v="172" actId="164"/>
          <ac:grpSpMkLst>
            <pc:docMk/>
            <pc:sldMk cId="4008453649" sldId="604"/>
            <ac:grpSpMk id="42" creationId="{25926E4D-C8B7-02AC-FAEE-34A048E92079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43" creationId="{902226CA-2C17-74FC-F46B-0595E2C6DD2B}"/>
          </ac:grpSpMkLst>
        </pc:grpChg>
        <pc:grpChg chg="add mod">
          <ac:chgData name="Miraj Sinya" userId="a6e95797-5893-4261-9f10-8f81f198df75" providerId="ADAL" clId="{A4828A9C-58EF-4A2B-B124-6E606D7DB302}" dt="2023-04-12T01:50:01.921" v="174" actId="164"/>
          <ac:grpSpMkLst>
            <pc:docMk/>
            <pc:sldMk cId="4008453649" sldId="604"/>
            <ac:grpSpMk id="44" creationId="{2A408EC0-C503-1184-4C19-7700667CDAE2}"/>
          </ac:grpSpMkLst>
        </pc:grpChg>
        <pc:grpChg chg="add mod">
          <ac:chgData name="Miraj Sinya" userId="a6e95797-5893-4261-9f10-8f81f198df75" providerId="ADAL" clId="{A4828A9C-58EF-4A2B-B124-6E606D7DB302}" dt="2023-04-12T01:49:50.490" v="172" actId="164"/>
          <ac:grpSpMkLst>
            <pc:docMk/>
            <pc:sldMk cId="4008453649" sldId="604"/>
            <ac:grpSpMk id="47" creationId="{29987A72-FCBC-C78F-AE17-524D2607CD84}"/>
          </ac:grpSpMkLst>
        </pc:grpChg>
        <pc:grpChg chg="add mod">
          <ac:chgData name="Miraj Sinya" userId="a6e95797-5893-4261-9f10-8f81f198df75" providerId="ADAL" clId="{A4828A9C-58EF-4A2B-B124-6E606D7DB302}" dt="2023-04-12T01:50:01.921" v="174" actId="164"/>
          <ac:grpSpMkLst>
            <pc:docMk/>
            <pc:sldMk cId="4008453649" sldId="604"/>
            <ac:grpSpMk id="52" creationId="{F968ACB3-714D-CC2B-6A25-6C4FFD756184}"/>
          </ac:grpSpMkLst>
        </pc:grpChg>
        <pc:grpChg chg="add mod">
          <ac:chgData name="Miraj Sinya" userId="a6e95797-5893-4261-9f10-8f81f198df75" providerId="ADAL" clId="{A4828A9C-58EF-4A2B-B124-6E606D7DB302}" dt="2023-04-12T01:49:48.619" v="170" actId="164"/>
          <ac:grpSpMkLst>
            <pc:docMk/>
            <pc:sldMk cId="4008453649" sldId="604"/>
            <ac:grpSpMk id="61" creationId="{0BF42FD5-7349-1BEE-C732-C92CB0596404}"/>
          </ac:grpSpMkLst>
        </pc:grpChg>
        <pc:grpChg chg="add mod">
          <ac:chgData name="Miraj Sinya" userId="a6e95797-5893-4261-9f10-8f81f198df75" providerId="ADAL" clId="{A4828A9C-58EF-4A2B-B124-6E606D7DB302}" dt="2023-04-12T01:50:01.921" v="174" actId="164"/>
          <ac:grpSpMkLst>
            <pc:docMk/>
            <pc:sldMk cId="4008453649" sldId="604"/>
            <ac:grpSpMk id="64" creationId="{9B703834-E084-41B9-AF35-C0FF489DF15E}"/>
          </ac:grpSpMkLst>
        </pc:grpChg>
        <pc:grpChg chg="del mod topLvl">
          <ac:chgData name="Miraj Sinya" userId="a6e95797-5893-4261-9f10-8f81f198df75" providerId="ADAL" clId="{A4828A9C-58EF-4A2B-B124-6E606D7DB302}" dt="2023-04-12T01:46:53.790" v="136" actId="165"/>
          <ac:grpSpMkLst>
            <pc:docMk/>
            <pc:sldMk cId="4008453649" sldId="604"/>
            <ac:grpSpMk id="78" creationId="{05488E20-33C5-FF06-0597-0A307A71FC51}"/>
          </ac:grpSpMkLst>
        </pc:grpChg>
        <pc:picChg chg="mod topLvl">
          <ac:chgData name="Miraj Sinya" userId="a6e95797-5893-4261-9f10-8f81f198df75" providerId="ADAL" clId="{A4828A9C-58EF-4A2B-B124-6E606D7DB302}" dt="2023-04-12T01:49:48.619" v="170" actId="164"/>
          <ac:picMkLst>
            <pc:docMk/>
            <pc:sldMk cId="4008453649" sldId="604"/>
            <ac:picMk id="100" creationId="{44D523FE-BA79-FE17-CD86-2175F39520D3}"/>
          </ac:picMkLst>
        </pc:picChg>
        <pc:picChg chg="mod topLvl">
          <ac:chgData name="Miraj Sinya" userId="a6e95797-5893-4261-9f10-8f81f198df75" providerId="ADAL" clId="{A4828A9C-58EF-4A2B-B124-6E606D7DB302}" dt="2023-04-12T01:49:48.619" v="170" actId="164"/>
          <ac:picMkLst>
            <pc:docMk/>
            <pc:sldMk cId="4008453649" sldId="604"/>
            <ac:picMk id="101" creationId="{9ADC0406-9B86-9505-BC21-9377AAA1F8A0}"/>
          </ac:picMkLst>
        </pc:picChg>
        <pc:picChg chg="mod topLvl">
          <ac:chgData name="Miraj Sinya" userId="a6e95797-5893-4261-9f10-8f81f198df75" providerId="ADAL" clId="{A4828A9C-58EF-4A2B-B124-6E606D7DB302}" dt="2023-04-12T01:49:49.189" v="171" actId="164"/>
          <ac:picMkLst>
            <pc:docMk/>
            <pc:sldMk cId="4008453649" sldId="604"/>
            <ac:picMk id="124" creationId="{DCF01018-7B83-E908-5BBC-C2033BFD8B82}"/>
          </ac:picMkLst>
        </pc:picChg>
        <pc:picChg chg="mod topLvl">
          <ac:chgData name="Miraj Sinya" userId="a6e95797-5893-4261-9f10-8f81f198df75" providerId="ADAL" clId="{A4828A9C-58EF-4A2B-B124-6E606D7DB302}" dt="2023-04-12T01:49:49.189" v="171" actId="164"/>
          <ac:picMkLst>
            <pc:docMk/>
            <pc:sldMk cId="4008453649" sldId="604"/>
            <ac:picMk id="125" creationId="{583508FE-0964-F111-1B7A-7A3A85195A78}"/>
          </ac:picMkLst>
        </pc:picChg>
        <pc:cxnChg chg="mod topLvl">
          <ac:chgData name="Miraj Sinya" userId="a6e95797-5893-4261-9f10-8f81f198df75" providerId="ADAL" clId="{A4828A9C-58EF-4A2B-B124-6E606D7DB302}" dt="2023-04-12T01:49:48.619" v="170" actId="164"/>
          <ac:cxnSpMkLst>
            <pc:docMk/>
            <pc:sldMk cId="4008453649" sldId="604"/>
            <ac:cxnSpMk id="10" creationId="{B6A2670B-2D4F-23D0-CDED-F52543642720}"/>
          </ac:cxnSpMkLst>
        </pc:cxnChg>
        <pc:cxnChg chg="mod topLvl">
          <ac:chgData name="Miraj Sinya" userId="a6e95797-5893-4261-9f10-8f81f198df75" providerId="ADAL" clId="{A4828A9C-58EF-4A2B-B124-6E606D7DB302}" dt="2023-04-12T01:49:48.619" v="170" actId="164"/>
          <ac:cxnSpMkLst>
            <pc:docMk/>
            <pc:sldMk cId="4008453649" sldId="604"/>
            <ac:cxnSpMk id="14" creationId="{3BECD545-7D98-CF75-EA3D-05B7FE0577A0}"/>
          </ac:cxnSpMkLst>
        </pc:cxnChg>
        <pc:cxnChg chg="mod topLvl">
          <ac:chgData name="Miraj Sinya" userId="a6e95797-5893-4261-9f10-8f81f198df75" providerId="ADAL" clId="{A4828A9C-58EF-4A2B-B124-6E606D7DB302}" dt="2023-04-12T01:49:48.619" v="170" actId="164"/>
          <ac:cxnSpMkLst>
            <pc:docMk/>
            <pc:sldMk cId="4008453649" sldId="604"/>
            <ac:cxnSpMk id="25" creationId="{2926DB7F-176C-D217-F2D9-B3D4A36DA5CC}"/>
          </ac:cxnSpMkLst>
        </pc:cxnChg>
        <pc:cxnChg chg="mod topLvl">
          <ac:chgData name="Miraj Sinya" userId="a6e95797-5893-4261-9f10-8f81f198df75" providerId="ADAL" clId="{A4828A9C-58EF-4A2B-B124-6E606D7DB302}" dt="2023-04-13T23:15:19.425" v="468" actId="166"/>
          <ac:cxnSpMkLst>
            <pc:docMk/>
            <pc:sldMk cId="4008453649" sldId="604"/>
            <ac:cxnSpMk id="85" creationId="{E612D442-1E02-D7BB-53D9-E22487A18832}"/>
          </ac:cxnSpMkLst>
        </pc:cxnChg>
      </pc:sldChg>
      <pc:sldChg chg="modSp mod">
        <pc:chgData name="Miraj Sinya" userId="a6e95797-5893-4261-9f10-8f81f198df75" providerId="ADAL" clId="{A4828A9C-58EF-4A2B-B124-6E606D7DB302}" dt="2023-04-12T01:38:52.538" v="1" actId="1076"/>
        <pc:sldMkLst>
          <pc:docMk/>
          <pc:sldMk cId="1556697206" sldId="607"/>
        </pc:sldMkLst>
        <pc:spChg chg="mod">
          <ac:chgData name="Miraj Sinya" userId="a6e95797-5893-4261-9f10-8f81f198df75" providerId="ADAL" clId="{A4828A9C-58EF-4A2B-B124-6E606D7DB302}" dt="2023-04-12T01:38:52.538" v="1" actId="1076"/>
          <ac:spMkLst>
            <pc:docMk/>
            <pc:sldMk cId="1556697206" sldId="607"/>
            <ac:spMk id="26" creationId="{024E97BD-2F8A-58C7-13C3-AF56C069B4A0}"/>
          </ac:spMkLst>
        </pc:spChg>
      </pc:sldChg>
      <pc:sldChg chg="modSp mod">
        <pc:chgData name="Miraj Sinya" userId="a6e95797-5893-4261-9f10-8f81f198df75" providerId="ADAL" clId="{A4828A9C-58EF-4A2B-B124-6E606D7DB302}" dt="2023-04-12T01:44:04.613" v="120" actId="20577"/>
        <pc:sldMkLst>
          <pc:docMk/>
          <pc:sldMk cId="3629486408" sldId="611"/>
        </pc:sldMkLst>
        <pc:spChg chg="mod">
          <ac:chgData name="Miraj Sinya" userId="a6e95797-5893-4261-9f10-8f81f198df75" providerId="ADAL" clId="{A4828A9C-58EF-4A2B-B124-6E606D7DB302}" dt="2023-04-12T01:44:04.613" v="120" actId="20577"/>
          <ac:spMkLst>
            <pc:docMk/>
            <pc:sldMk cId="3629486408" sldId="611"/>
            <ac:spMk id="31" creationId="{6ADF8A60-9480-5143-EF62-9EC833519468}"/>
          </ac:spMkLst>
        </pc:spChg>
      </pc:sldChg>
      <pc:sldChg chg="modSp mod">
        <pc:chgData name="Miraj Sinya" userId="a6e95797-5893-4261-9f10-8f81f198df75" providerId="ADAL" clId="{A4828A9C-58EF-4A2B-B124-6E606D7DB302}" dt="2023-04-12T02:50:26.638" v="251" actId="20577"/>
        <pc:sldMkLst>
          <pc:docMk/>
          <pc:sldMk cId="2524774510" sldId="613"/>
        </pc:sldMkLst>
        <pc:spChg chg="mod">
          <ac:chgData name="Miraj Sinya" userId="a6e95797-5893-4261-9f10-8f81f198df75" providerId="ADAL" clId="{A4828A9C-58EF-4A2B-B124-6E606D7DB302}" dt="2023-04-12T02:50:26.638" v="251" actId="20577"/>
          <ac:spMkLst>
            <pc:docMk/>
            <pc:sldMk cId="2524774510" sldId="613"/>
            <ac:spMk id="2" creationId="{8F9128BC-1D37-66AB-858A-60235B0D02F9}"/>
          </ac:spMkLst>
        </pc:spChg>
      </pc:sldChg>
      <pc:sldChg chg="addSp delSp modSp mod">
        <pc:chgData name="Miraj Sinya" userId="a6e95797-5893-4261-9f10-8f81f198df75" providerId="ADAL" clId="{A4828A9C-58EF-4A2B-B124-6E606D7DB302}" dt="2023-04-13T23:36:26.805" v="469" actId="14100"/>
        <pc:sldMkLst>
          <pc:docMk/>
          <pc:sldMk cId="4233907682" sldId="616"/>
        </pc:sldMkLst>
        <pc:spChg chg="mod">
          <ac:chgData name="Miraj Sinya" userId="a6e95797-5893-4261-9f10-8f81f198df75" providerId="ADAL" clId="{A4828A9C-58EF-4A2B-B124-6E606D7DB302}" dt="2023-04-12T02:51:12.183" v="262" actId="20577"/>
          <ac:spMkLst>
            <pc:docMk/>
            <pc:sldMk cId="4233907682" sldId="616"/>
            <ac:spMk id="2" creationId="{8F9128BC-1D37-66AB-858A-60235B0D02F9}"/>
          </ac:spMkLst>
        </pc:spChg>
        <pc:spChg chg="mod">
          <ac:chgData name="Miraj Sinya" userId="a6e95797-5893-4261-9f10-8f81f198df75" providerId="ADAL" clId="{A4828A9C-58EF-4A2B-B124-6E606D7DB302}" dt="2023-04-12T02:45:14.423" v="180" actId="571"/>
          <ac:spMkLst>
            <pc:docMk/>
            <pc:sldMk cId="4233907682" sldId="616"/>
            <ac:spMk id="4" creationId="{9228E907-8289-6271-C5EA-0C5F00C92432}"/>
          </ac:spMkLst>
        </pc:spChg>
        <pc:spChg chg="mod">
          <ac:chgData name="Miraj Sinya" userId="a6e95797-5893-4261-9f10-8f81f198df75" providerId="ADAL" clId="{A4828A9C-58EF-4A2B-B124-6E606D7DB302}" dt="2023-04-13T22:53:06.796" v="388" actId="122"/>
          <ac:spMkLst>
            <pc:docMk/>
            <pc:sldMk cId="4233907682" sldId="616"/>
            <ac:spMk id="5" creationId="{C0116AA9-2EDE-3581-747F-DCE6166C5057}"/>
          </ac:spMkLst>
        </pc:spChg>
        <pc:spChg chg="del mod">
          <ac:chgData name="Miraj Sinya" userId="a6e95797-5893-4261-9f10-8f81f198df75" providerId="ADAL" clId="{A4828A9C-58EF-4A2B-B124-6E606D7DB302}" dt="2023-04-12T02:46:50.386" v="224" actId="478"/>
          <ac:spMkLst>
            <pc:docMk/>
            <pc:sldMk cId="4233907682" sldId="616"/>
            <ac:spMk id="7" creationId="{033F5196-CE1F-01DE-D669-A187EB4E2438}"/>
          </ac:spMkLst>
        </pc:spChg>
        <pc:spChg chg="del mod">
          <ac:chgData name="Miraj Sinya" userId="a6e95797-5893-4261-9f10-8f81f198df75" providerId="ADAL" clId="{A4828A9C-58EF-4A2B-B124-6E606D7DB302}" dt="2023-04-12T02:46:52.930" v="225" actId="478"/>
          <ac:spMkLst>
            <pc:docMk/>
            <pc:sldMk cId="4233907682" sldId="616"/>
            <ac:spMk id="8" creationId="{779BF168-1D33-DEE2-A829-2A09C2D8B8D2}"/>
          </ac:spMkLst>
        </pc:spChg>
        <pc:spChg chg="mod">
          <ac:chgData name="Miraj Sinya" userId="a6e95797-5893-4261-9f10-8f81f198df75" providerId="ADAL" clId="{A4828A9C-58EF-4A2B-B124-6E606D7DB302}" dt="2023-04-12T02:45:18.525" v="181" actId="571"/>
          <ac:spMkLst>
            <pc:docMk/>
            <pc:sldMk cId="4233907682" sldId="616"/>
            <ac:spMk id="11" creationId="{18F829C1-0EC0-BF70-F152-F59F1A7BD8D6}"/>
          </ac:spMkLst>
        </pc:spChg>
        <pc:spChg chg="mod">
          <ac:chgData name="Miraj Sinya" userId="a6e95797-5893-4261-9f10-8f81f198df75" providerId="ADAL" clId="{A4828A9C-58EF-4A2B-B124-6E606D7DB302}" dt="2023-04-13T22:58:41.339" v="421" actId="1076"/>
          <ac:spMkLst>
            <pc:docMk/>
            <pc:sldMk cId="4233907682" sldId="616"/>
            <ac:spMk id="26" creationId="{D039921A-06B1-9ABA-8798-5423BF66789D}"/>
          </ac:spMkLst>
        </pc:spChg>
        <pc:spChg chg="mod">
          <ac:chgData name="Miraj Sinya" userId="a6e95797-5893-4261-9f10-8f81f198df75" providerId="ADAL" clId="{A4828A9C-58EF-4A2B-B124-6E606D7DB302}" dt="2023-04-12T02:45:25.176" v="183" actId="571"/>
          <ac:spMkLst>
            <pc:docMk/>
            <pc:sldMk cId="4233907682" sldId="616"/>
            <ac:spMk id="28" creationId="{CD1998D9-39D8-74B3-2CB5-1043D636BE99}"/>
          </ac:spMkLst>
        </pc:spChg>
        <pc:spChg chg="mod">
          <ac:chgData name="Miraj Sinya" userId="a6e95797-5893-4261-9f10-8f81f198df75" providerId="ADAL" clId="{A4828A9C-58EF-4A2B-B124-6E606D7DB302}" dt="2023-04-13T22:58:44.669" v="422" actId="1076"/>
          <ac:spMkLst>
            <pc:docMk/>
            <pc:sldMk cId="4233907682" sldId="616"/>
            <ac:spMk id="29" creationId="{CEA199FB-BF64-7F7E-E704-83F86E1A7D15}"/>
          </ac:spMkLst>
        </pc:spChg>
        <pc:spChg chg="mod">
          <ac:chgData name="Miraj Sinya" userId="a6e95797-5893-4261-9f10-8f81f198df75" providerId="ADAL" clId="{A4828A9C-58EF-4A2B-B124-6E606D7DB302}" dt="2023-04-12T02:57:23.594" v="316" actId="20577"/>
          <ac:spMkLst>
            <pc:docMk/>
            <pc:sldMk cId="4233907682" sldId="616"/>
            <ac:spMk id="31" creationId="{6ADF8A60-9480-5143-EF62-9EC833519468}"/>
          </ac:spMkLst>
        </pc:spChg>
        <pc:spChg chg="mod">
          <ac:chgData name="Miraj Sinya" userId="a6e95797-5893-4261-9f10-8f81f198df75" providerId="ADAL" clId="{A4828A9C-58EF-4A2B-B124-6E606D7DB302}" dt="2023-04-12T02:45:53.951" v="195" actId="571"/>
          <ac:spMkLst>
            <pc:docMk/>
            <pc:sldMk cId="4233907682" sldId="616"/>
            <ac:spMk id="34" creationId="{8B25F288-6E4D-B2E4-01CB-A20B846FBC34}"/>
          </ac:spMkLst>
        </pc:spChg>
        <pc:spChg chg="mod">
          <ac:chgData name="Miraj Sinya" userId="a6e95797-5893-4261-9f10-8f81f198df75" providerId="ADAL" clId="{A4828A9C-58EF-4A2B-B124-6E606D7DB302}" dt="2023-04-12T02:45:53.951" v="195" actId="571"/>
          <ac:spMkLst>
            <pc:docMk/>
            <pc:sldMk cId="4233907682" sldId="616"/>
            <ac:spMk id="35" creationId="{8F2DEA60-B823-C4CB-658E-49EC06CDF307}"/>
          </ac:spMkLst>
        </pc:spChg>
        <pc:spChg chg="mod">
          <ac:chgData name="Miraj Sinya" userId="a6e95797-5893-4261-9f10-8f81f198df75" providerId="ADAL" clId="{A4828A9C-58EF-4A2B-B124-6E606D7DB302}" dt="2023-04-12T02:45:53.951" v="195" actId="571"/>
          <ac:spMkLst>
            <pc:docMk/>
            <pc:sldMk cId="4233907682" sldId="616"/>
            <ac:spMk id="37" creationId="{132F2E20-1A2D-9442-791D-D10F5D30B02E}"/>
          </ac:spMkLst>
        </pc:spChg>
        <pc:spChg chg="mod">
          <ac:chgData name="Miraj Sinya" userId="a6e95797-5893-4261-9f10-8f81f198df75" providerId="ADAL" clId="{A4828A9C-58EF-4A2B-B124-6E606D7DB302}" dt="2023-04-12T02:45:53.951" v="195" actId="571"/>
          <ac:spMkLst>
            <pc:docMk/>
            <pc:sldMk cId="4233907682" sldId="616"/>
            <ac:spMk id="38" creationId="{3318E2CC-F95C-DBC5-A034-F7063391904C}"/>
          </ac:spMkLst>
        </pc:spChg>
        <pc:spChg chg="add mod">
          <ac:chgData name="Miraj Sinya" userId="a6e95797-5893-4261-9f10-8f81f198df75" providerId="ADAL" clId="{A4828A9C-58EF-4A2B-B124-6E606D7DB302}" dt="2023-04-13T22:58:10.886" v="415" actId="14100"/>
          <ac:spMkLst>
            <pc:docMk/>
            <pc:sldMk cId="4233907682" sldId="616"/>
            <ac:spMk id="41" creationId="{40B8D283-F2D0-F051-5CA1-508CFF1ED3C8}"/>
          </ac:spMkLst>
        </pc:spChg>
        <pc:spChg chg="mod">
          <ac:chgData name="Miraj Sinya" userId="a6e95797-5893-4261-9f10-8f81f198df75" providerId="ADAL" clId="{A4828A9C-58EF-4A2B-B124-6E606D7DB302}" dt="2023-04-12T02:55:59.743" v="272" actId="571"/>
          <ac:spMkLst>
            <pc:docMk/>
            <pc:sldMk cId="4233907682" sldId="616"/>
            <ac:spMk id="43" creationId="{CF31B157-A660-A86B-75A3-02BC2B4DA180}"/>
          </ac:spMkLst>
        </pc:spChg>
        <pc:spChg chg="mod">
          <ac:chgData name="Miraj Sinya" userId="a6e95797-5893-4261-9f10-8f81f198df75" providerId="ADAL" clId="{A4828A9C-58EF-4A2B-B124-6E606D7DB302}" dt="2023-04-12T02:55:59.743" v="272" actId="571"/>
          <ac:spMkLst>
            <pc:docMk/>
            <pc:sldMk cId="4233907682" sldId="616"/>
            <ac:spMk id="44" creationId="{91173DA9-F6C2-7EE6-417D-F594BB4EC9E6}"/>
          </ac:spMkLst>
        </pc:spChg>
        <pc:spChg chg="add mod">
          <ac:chgData name="Miraj Sinya" userId="a6e95797-5893-4261-9f10-8f81f198df75" providerId="ADAL" clId="{A4828A9C-58EF-4A2B-B124-6E606D7DB302}" dt="2023-04-12T02:55:59.743" v="272" actId="571"/>
          <ac:spMkLst>
            <pc:docMk/>
            <pc:sldMk cId="4233907682" sldId="616"/>
            <ac:spMk id="45" creationId="{CC892A3A-CE4E-C3D9-8402-FC6DDC37656C}"/>
          </ac:spMkLst>
        </pc:spChg>
        <pc:spChg chg="add mod">
          <ac:chgData name="Miraj Sinya" userId="a6e95797-5893-4261-9f10-8f81f198df75" providerId="ADAL" clId="{A4828A9C-58EF-4A2B-B124-6E606D7DB302}" dt="2023-04-13T22:55:21.944" v="401" actId="1076"/>
          <ac:spMkLst>
            <pc:docMk/>
            <pc:sldMk cId="4233907682" sldId="616"/>
            <ac:spMk id="46" creationId="{3C4EDFAB-2324-EFA4-C46B-BB5D80C56A9C}"/>
          </ac:spMkLst>
        </pc:spChg>
        <pc:spChg chg="add mod">
          <ac:chgData name="Miraj Sinya" userId="a6e95797-5893-4261-9f10-8f81f198df75" providerId="ADAL" clId="{A4828A9C-58EF-4A2B-B124-6E606D7DB302}" dt="2023-04-13T22:57:08.640" v="410" actId="1076"/>
          <ac:spMkLst>
            <pc:docMk/>
            <pc:sldMk cId="4233907682" sldId="616"/>
            <ac:spMk id="47" creationId="{BE40E30E-3402-27FC-0FC3-4472A794ECD1}"/>
          </ac:spMkLst>
        </pc:spChg>
        <pc:spChg chg="add mod">
          <ac:chgData name="Miraj Sinya" userId="a6e95797-5893-4261-9f10-8f81f198df75" providerId="ADAL" clId="{A4828A9C-58EF-4A2B-B124-6E606D7DB302}" dt="2023-04-13T22:55:30.248" v="403" actId="1076"/>
          <ac:spMkLst>
            <pc:docMk/>
            <pc:sldMk cId="4233907682" sldId="616"/>
            <ac:spMk id="48" creationId="{C86D0160-D75A-9325-2E67-A8460EBE39F6}"/>
          </ac:spMkLst>
        </pc:spChg>
        <pc:spChg chg="mod">
          <ac:chgData name="Miraj Sinya" userId="a6e95797-5893-4261-9f10-8f81f198df75" providerId="ADAL" clId="{A4828A9C-58EF-4A2B-B124-6E606D7DB302}" dt="2023-04-12T02:56:42.442" v="291" actId="571"/>
          <ac:spMkLst>
            <pc:docMk/>
            <pc:sldMk cId="4233907682" sldId="616"/>
            <ac:spMk id="95" creationId="{1A1BABD9-6395-3D6C-9F00-AA0356ECBFE5}"/>
          </ac:spMkLst>
        </pc:spChg>
        <pc:spChg chg="mod">
          <ac:chgData name="Miraj Sinya" userId="a6e95797-5893-4261-9f10-8f81f198df75" providerId="ADAL" clId="{A4828A9C-58EF-4A2B-B124-6E606D7DB302}" dt="2023-04-13T22:58:23.813" v="420" actId="403"/>
          <ac:spMkLst>
            <pc:docMk/>
            <pc:sldMk cId="4233907682" sldId="616"/>
            <ac:spMk id="96" creationId="{A1CFA37B-DB25-5AB7-49AE-98D2F9566E38}"/>
          </ac:spMkLst>
        </pc:spChg>
        <pc:spChg chg="mod">
          <ac:chgData name="Miraj Sinya" userId="a6e95797-5893-4261-9f10-8f81f198df75" providerId="ADAL" clId="{A4828A9C-58EF-4A2B-B124-6E606D7DB302}" dt="2023-04-13T22:52:46.563" v="387" actId="403"/>
          <ac:spMkLst>
            <pc:docMk/>
            <pc:sldMk cId="4233907682" sldId="616"/>
            <ac:spMk id="106" creationId="{9D5CA23A-ECAD-2151-9E2F-C7847612CFB1}"/>
          </ac:spMkLst>
        </pc:spChg>
        <pc:spChg chg="mod">
          <ac:chgData name="Miraj Sinya" userId="a6e95797-5893-4261-9f10-8f81f198df75" providerId="ADAL" clId="{A4828A9C-58EF-4A2B-B124-6E606D7DB302}" dt="2023-04-12T02:47:30.717" v="241" actId="20577"/>
          <ac:spMkLst>
            <pc:docMk/>
            <pc:sldMk cId="4233907682" sldId="616"/>
            <ac:spMk id="109" creationId="{D8D7BC75-5B08-7B21-CD55-EC33ACB3FFEE}"/>
          </ac:spMkLst>
        </pc:spChg>
        <pc:grpChg chg="add mod">
          <ac:chgData name="Miraj Sinya" userId="a6e95797-5893-4261-9f10-8f81f198df75" providerId="ADAL" clId="{A4828A9C-58EF-4A2B-B124-6E606D7DB302}" dt="2023-04-13T22:55:21.944" v="401" actId="1076"/>
          <ac:grpSpMkLst>
            <pc:docMk/>
            <pc:sldMk cId="4233907682" sldId="616"/>
            <ac:grpSpMk id="3" creationId="{9074D643-8044-3B31-B5B9-991BCF9E9F0C}"/>
          </ac:grpSpMkLst>
        </pc:grpChg>
        <pc:grpChg chg="del mod">
          <ac:chgData name="Miraj Sinya" userId="a6e95797-5893-4261-9f10-8f81f198df75" providerId="ADAL" clId="{A4828A9C-58EF-4A2B-B124-6E606D7DB302}" dt="2023-04-12T02:46:50.386" v="224" actId="478"/>
          <ac:grpSpMkLst>
            <pc:docMk/>
            <pc:sldMk cId="4233907682" sldId="616"/>
            <ac:grpSpMk id="6" creationId="{44B93DAC-9351-D9FB-6665-04E1EE86C5CF}"/>
          </ac:grpSpMkLst>
        </pc:grpChg>
        <pc:grpChg chg="add mod">
          <ac:chgData name="Miraj Sinya" userId="a6e95797-5893-4261-9f10-8f81f198df75" providerId="ADAL" clId="{A4828A9C-58EF-4A2B-B124-6E606D7DB302}" dt="2023-04-13T22:55:21.944" v="401" actId="1076"/>
          <ac:grpSpMkLst>
            <pc:docMk/>
            <pc:sldMk cId="4233907682" sldId="616"/>
            <ac:grpSpMk id="10" creationId="{B4D43D08-C67B-A32B-C2E7-61AF15D833FE}"/>
          </ac:grpSpMkLst>
        </pc:grpChg>
        <pc:grpChg chg="add mod">
          <ac:chgData name="Miraj Sinya" userId="a6e95797-5893-4261-9f10-8f81f198df75" providerId="ADAL" clId="{A4828A9C-58EF-4A2B-B124-6E606D7DB302}" dt="2023-04-13T22:55:21.944" v="401" actId="1076"/>
          <ac:grpSpMkLst>
            <pc:docMk/>
            <pc:sldMk cId="4233907682" sldId="616"/>
            <ac:grpSpMk id="27" creationId="{1804B4BF-06A3-F7EA-CA5E-9248FECBDB34}"/>
          </ac:grpSpMkLst>
        </pc:grpChg>
        <pc:grpChg chg="add mod">
          <ac:chgData name="Miraj Sinya" userId="a6e95797-5893-4261-9f10-8f81f198df75" providerId="ADAL" clId="{A4828A9C-58EF-4A2B-B124-6E606D7DB302}" dt="2023-04-12T02:45:53.951" v="195" actId="571"/>
          <ac:grpSpMkLst>
            <pc:docMk/>
            <pc:sldMk cId="4233907682" sldId="616"/>
            <ac:grpSpMk id="33" creationId="{3B71E4B1-ED4B-C3BE-2508-466D3522491A}"/>
          </ac:grpSpMkLst>
        </pc:grpChg>
        <pc:grpChg chg="add mod">
          <ac:chgData name="Miraj Sinya" userId="a6e95797-5893-4261-9f10-8f81f198df75" providerId="ADAL" clId="{A4828A9C-58EF-4A2B-B124-6E606D7DB302}" dt="2023-04-12T02:45:53.951" v="195" actId="571"/>
          <ac:grpSpMkLst>
            <pc:docMk/>
            <pc:sldMk cId="4233907682" sldId="616"/>
            <ac:grpSpMk id="36" creationId="{DCE702D5-2D9F-BF4A-958E-AAB50A2B4935}"/>
          </ac:grpSpMkLst>
        </pc:grpChg>
        <pc:grpChg chg="add mod">
          <ac:chgData name="Miraj Sinya" userId="a6e95797-5893-4261-9f10-8f81f198df75" providerId="ADAL" clId="{A4828A9C-58EF-4A2B-B124-6E606D7DB302}" dt="2023-04-12T02:55:59.743" v="272" actId="571"/>
          <ac:grpSpMkLst>
            <pc:docMk/>
            <pc:sldMk cId="4233907682" sldId="616"/>
            <ac:grpSpMk id="42" creationId="{00AEDF23-410E-6429-8924-9148AF813BA8}"/>
          </ac:grpSpMkLst>
        </pc:grpChg>
        <pc:grpChg chg="mod">
          <ac:chgData name="Miraj Sinya" userId="a6e95797-5893-4261-9f10-8f81f198df75" providerId="ADAL" clId="{A4828A9C-58EF-4A2B-B124-6E606D7DB302}" dt="2023-04-13T22:57:39.641" v="411" actId="1076"/>
          <ac:grpSpMkLst>
            <pc:docMk/>
            <pc:sldMk cId="4233907682" sldId="616"/>
            <ac:grpSpMk id="53" creationId="{A43EA5CD-42F6-0801-651E-401582094CBF}"/>
          </ac:grpSpMkLst>
        </pc:grpChg>
        <pc:grpChg chg="mod">
          <ac:chgData name="Miraj Sinya" userId="a6e95797-5893-4261-9f10-8f81f198df75" providerId="ADAL" clId="{A4828A9C-58EF-4A2B-B124-6E606D7DB302}" dt="2023-04-13T22:56:37.965" v="406" actId="1076"/>
          <ac:grpSpMkLst>
            <pc:docMk/>
            <pc:sldMk cId="4233907682" sldId="616"/>
            <ac:grpSpMk id="82" creationId="{FE1D9C3A-EA89-E00F-2215-08298B0AEED7}"/>
          </ac:grpSpMkLst>
        </pc:grpChg>
        <pc:grpChg chg="mod">
          <ac:chgData name="Miraj Sinya" userId="a6e95797-5893-4261-9f10-8f81f198df75" providerId="ADAL" clId="{A4828A9C-58EF-4A2B-B124-6E606D7DB302}" dt="2023-04-13T22:57:56.352" v="414" actId="1076"/>
          <ac:grpSpMkLst>
            <pc:docMk/>
            <pc:sldMk cId="4233907682" sldId="616"/>
            <ac:grpSpMk id="111" creationId="{4383CBC5-B21D-9EBC-1EE6-D715A945DDDC}"/>
          </ac:grpSpMkLst>
        </pc:grpChg>
        <pc:grpChg chg="del">
          <ac:chgData name="Miraj Sinya" userId="a6e95797-5893-4261-9f10-8f81f198df75" providerId="ADAL" clId="{A4828A9C-58EF-4A2B-B124-6E606D7DB302}" dt="2023-04-12T02:44:57.478" v="179" actId="478"/>
          <ac:grpSpMkLst>
            <pc:docMk/>
            <pc:sldMk cId="4233907682" sldId="616"/>
            <ac:grpSpMk id="133" creationId="{DC1D9638-EED5-796B-5376-BCA0F8062DD3}"/>
          </ac:grpSpMkLst>
        </pc:grpChg>
        <pc:grpChg chg="del">
          <ac:chgData name="Miraj Sinya" userId="a6e95797-5893-4261-9f10-8f81f198df75" providerId="ADAL" clId="{A4828A9C-58EF-4A2B-B124-6E606D7DB302}" dt="2023-04-12T02:44:56.688" v="178" actId="478"/>
          <ac:grpSpMkLst>
            <pc:docMk/>
            <pc:sldMk cId="4233907682" sldId="616"/>
            <ac:grpSpMk id="134" creationId="{A26F6DA8-2B14-DFE9-4CDE-96A9F270FBB2}"/>
          </ac:grpSpMkLst>
        </pc:grpChg>
        <pc:cxnChg chg="add mod">
          <ac:chgData name="Miraj Sinya" userId="a6e95797-5893-4261-9f10-8f81f198df75" providerId="ADAL" clId="{A4828A9C-58EF-4A2B-B124-6E606D7DB302}" dt="2023-04-13T22:57:48.513" v="413" actId="14100"/>
          <ac:cxnSpMkLst>
            <pc:docMk/>
            <pc:sldMk cId="4233907682" sldId="616"/>
            <ac:cxnSpMk id="30" creationId="{92AC17DA-70B9-699E-80BB-BEBD087F89BB}"/>
          </ac:cxnSpMkLst>
        </pc:cxnChg>
        <pc:cxnChg chg="add mod">
          <ac:chgData name="Miraj Sinya" userId="a6e95797-5893-4261-9f10-8f81f198df75" providerId="ADAL" clId="{A4828A9C-58EF-4A2B-B124-6E606D7DB302}" dt="2023-04-13T22:55:26.336" v="402" actId="1076"/>
          <ac:cxnSpMkLst>
            <pc:docMk/>
            <pc:sldMk cId="4233907682" sldId="616"/>
            <ac:cxnSpMk id="32" creationId="{A3DA65BA-DA06-2846-C79C-975B58F34167}"/>
          </ac:cxnSpMkLst>
        </pc:cxnChg>
        <pc:cxnChg chg="add mod">
          <ac:chgData name="Miraj Sinya" userId="a6e95797-5893-4261-9f10-8f81f198df75" providerId="ADAL" clId="{A4828A9C-58EF-4A2B-B124-6E606D7DB302}" dt="2023-04-13T22:55:26.336" v="402" actId="1076"/>
          <ac:cxnSpMkLst>
            <pc:docMk/>
            <pc:sldMk cId="4233907682" sldId="616"/>
            <ac:cxnSpMk id="39" creationId="{8E1AE4BA-7B30-4D0D-BA64-4A24B77C92DA}"/>
          </ac:cxnSpMkLst>
        </pc:cxnChg>
        <pc:cxnChg chg="mod">
          <ac:chgData name="Miraj Sinya" userId="a6e95797-5893-4261-9f10-8f81f198df75" providerId="ADAL" clId="{A4828A9C-58EF-4A2B-B124-6E606D7DB302}" dt="2023-04-13T23:36:26.805" v="469" actId="14100"/>
          <ac:cxnSpMkLst>
            <pc:docMk/>
            <pc:sldMk cId="4233907682" sldId="616"/>
            <ac:cxnSpMk id="103" creationId="{B02F9337-0D11-863F-1287-015E6AF32346}"/>
          </ac:cxnSpMkLst>
        </pc:cxnChg>
      </pc:sldChg>
      <pc:sldChg chg="modSp mod">
        <pc:chgData name="Miraj Sinya" userId="a6e95797-5893-4261-9f10-8f81f198df75" providerId="ADAL" clId="{A4828A9C-58EF-4A2B-B124-6E606D7DB302}" dt="2023-04-12T02:51:08.436" v="261" actId="20577"/>
        <pc:sldMkLst>
          <pc:docMk/>
          <pc:sldMk cId="4186022670" sldId="617"/>
        </pc:sldMkLst>
        <pc:spChg chg="mod">
          <ac:chgData name="Miraj Sinya" userId="a6e95797-5893-4261-9f10-8f81f198df75" providerId="ADAL" clId="{A4828A9C-58EF-4A2B-B124-6E606D7DB302}" dt="2023-04-12T02:51:08.436" v="261" actId="20577"/>
          <ac:spMkLst>
            <pc:docMk/>
            <pc:sldMk cId="4186022670" sldId="617"/>
            <ac:spMk id="2" creationId="{8F9128BC-1D37-66AB-858A-60235B0D02F9}"/>
          </ac:spMkLst>
        </pc:spChg>
      </pc:sldChg>
      <pc:sldChg chg="addSp modSp mod">
        <pc:chgData name="Miraj Sinya" userId="a6e95797-5893-4261-9f10-8f81f198df75" providerId="ADAL" clId="{A4828A9C-58EF-4A2B-B124-6E606D7DB302}" dt="2023-04-12T01:40:20.315" v="114" actId="12"/>
        <pc:sldMkLst>
          <pc:docMk/>
          <pc:sldMk cId="1526955458" sldId="620"/>
        </pc:sldMkLst>
        <pc:spChg chg="add mod">
          <ac:chgData name="Miraj Sinya" userId="a6e95797-5893-4261-9f10-8f81f198df75" providerId="ADAL" clId="{A4828A9C-58EF-4A2B-B124-6E606D7DB302}" dt="2023-04-12T01:40:20.315" v="114" actId="12"/>
          <ac:spMkLst>
            <pc:docMk/>
            <pc:sldMk cId="1526955458" sldId="620"/>
            <ac:spMk id="3" creationId="{653E87D1-548F-CD85-19E9-936E784CCAA2}"/>
          </ac:spMkLst>
        </pc:spChg>
      </pc:sldChg>
      <pc:sldChg chg="new del">
        <pc:chgData name="Miraj Sinya" userId="a6e95797-5893-4261-9f10-8f81f198df75" providerId="ADAL" clId="{A4828A9C-58EF-4A2B-B124-6E606D7DB302}" dt="2023-04-12T02:40:12.126" v="176" actId="47"/>
        <pc:sldMkLst>
          <pc:docMk/>
          <pc:sldMk cId="730306880" sldId="622"/>
        </pc:sldMkLst>
      </pc:sldChg>
      <pc:sldChg chg="addSp modSp mod">
        <pc:chgData name="Miraj Sinya" userId="a6e95797-5893-4261-9f10-8f81f198df75" providerId="ADAL" clId="{A4828A9C-58EF-4A2B-B124-6E606D7DB302}" dt="2023-04-13T23:12:08.847" v="467" actId="20577"/>
        <pc:sldMkLst>
          <pc:docMk/>
          <pc:sldMk cId="2705744719" sldId="622"/>
        </pc:sldMkLst>
        <pc:spChg chg="add mod">
          <ac:chgData name="Miraj Sinya" userId="a6e95797-5893-4261-9f10-8f81f198df75" providerId="ADAL" clId="{A4828A9C-58EF-4A2B-B124-6E606D7DB302}" dt="2023-04-13T23:12:08.847" v="467" actId="20577"/>
          <ac:spMkLst>
            <pc:docMk/>
            <pc:sldMk cId="2705744719" sldId="622"/>
            <ac:spMk id="2" creationId="{6F01F978-CE85-1377-6EDE-D5FEBD8CE2D3}"/>
          </ac:spMkLst>
        </pc:spChg>
        <pc:spChg chg="mod">
          <ac:chgData name="Miraj Sinya" userId="a6e95797-5893-4261-9f10-8f81f198df75" providerId="ADAL" clId="{A4828A9C-58EF-4A2B-B124-6E606D7DB302}" dt="2023-04-13T23:12:05.375" v="466" actId="20577"/>
          <ac:spMkLst>
            <pc:docMk/>
            <pc:sldMk cId="2705744719" sldId="622"/>
            <ac:spMk id="12" creationId="{04D82B57-FC93-F808-D711-41D7C57716AB}"/>
          </ac:spMkLst>
        </pc:spChg>
      </pc:sldChg>
      <pc:sldChg chg="addSp delSp modSp mod">
        <pc:chgData name="Miraj Sinya" userId="a6e95797-5893-4261-9f10-8f81f198df75" providerId="ADAL" clId="{A4828A9C-58EF-4A2B-B124-6E606D7DB302}" dt="2023-04-13T23:02:28.545" v="464"/>
        <pc:sldMkLst>
          <pc:docMk/>
          <pc:sldMk cId="4028579692" sldId="624"/>
        </pc:sldMkLst>
        <pc:spChg chg="mod">
          <ac:chgData name="Miraj Sinya" userId="a6e95797-5893-4261-9f10-8f81f198df75" providerId="ADAL" clId="{A4828A9C-58EF-4A2B-B124-6E606D7DB302}" dt="2023-04-13T23:02:28.545" v="464"/>
          <ac:spMkLst>
            <pc:docMk/>
            <pc:sldMk cId="4028579692" sldId="624"/>
            <ac:spMk id="2" creationId="{415440F6-D3C2-D26E-B3D1-6D3D51BFBA27}"/>
          </ac:spMkLst>
        </pc:spChg>
        <pc:spChg chg="add mod">
          <ac:chgData name="Miraj Sinya" userId="a6e95797-5893-4261-9f10-8f81f198df75" providerId="ADAL" clId="{A4828A9C-58EF-4A2B-B124-6E606D7DB302}" dt="2023-04-13T23:00:00.029" v="437" actId="20577"/>
          <ac:spMkLst>
            <pc:docMk/>
            <pc:sldMk cId="4028579692" sldId="624"/>
            <ac:spMk id="5" creationId="{5AF22215-0F22-27C6-B59B-EAF1016DEF87}"/>
          </ac:spMkLst>
        </pc:spChg>
        <pc:spChg chg="add del ord">
          <ac:chgData name="Miraj Sinya" userId="a6e95797-5893-4261-9f10-8f81f198df75" providerId="ADAL" clId="{A4828A9C-58EF-4A2B-B124-6E606D7DB302}" dt="2023-04-13T22:59:46.314" v="429" actId="478"/>
          <ac:spMkLst>
            <pc:docMk/>
            <pc:sldMk cId="4028579692" sldId="624"/>
            <ac:spMk id="6" creationId="{1A1C1F22-0497-6B79-3D40-E28CC9CB0D7C}"/>
          </ac:spMkLst>
        </pc:spChg>
        <pc:spChg chg="add del">
          <ac:chgData name="Miraj Sinya" userId="a6e95797-5893-4261-9f10-8f81f198df75" providerId="ADAL" clId="{A4828A9C-58EF-4A2B-B124-6E606D7DB302}" dt="2023-04-13T23:02:26.325" v="463" actId="22"/>
          <ac:spMkLst>
            <pc:docMk/>
            <pc:sldMk cId="4028579692" sldId="624"/>
            <ac:spMk id="8" creationId="{DE9479F2-A670-57CE-4FDD-3B8A5FFCD84B}"/>
          </ac:spMkLst>
        </pc:spChg>
        <pc:picChg chg="mod ord">
          <ac:chgData name="Miraj Sinya" userId="a6e95797-5893-4261-9f10-8f81f198df75" providerId="ADAL" clId="{A4828A9C-58EF-4A2B-B124-6E606D7DB302}" dt="2023-04-13T22:59:30.957" v="425" actId="167"/>
          <ac:picMkLst>
            <pc:docMk/>
            <pc:sldMk cId="4028579692" sldId="624"/>
            <ac:picMk id="3" creationId="{30B36639-A1FB-DDFE-3EA5-17C260C09072}"/>
          </ac:picMkLst>
        </pc:picChg>
      </pc:sldChg>
      <pc:sldChg chg="addSp delSp modSp mod">
        <pc:chgData name="Miraj Sinya" userId="a6e95797-5893-4261-9f10-8f81f198df75" providerId="ADAL" clId="{A4828A9C-58EF-4A2B-B124-6E606D7DB302}" dt="2023-04-13T23:01:33.107" v="459"/>
        <pc:sldMkLst>
          <pc:docMk/>
          <pc:sldMk cId="1739270523" sldId="625"/>
        </pc:sldMkLst>
        <pc:spChg chg="add del mod ord">
          <ac:chgData name="Miraj Sinya" userId="a6e95797-5893-4261-9f10-8f81f198df75" providerId="ADAL" clId="{A4828A9C-58EF-4A2B-B124-6E606D7DB302}" dt="2023-04-13T23:00:09.429" v="439" actId="21"/>
          <ac:spMkLst>
            <pc:docMk/>
            <pc:sldMk cId="1739270523" sldId="625"/>
            <ac:spMk id="5" creationId="{00879B78-048A-7DBD-9122-D862A960768A}"/>
          </ac:spMkLst>
        </pc:spChg>
        <pc:spChg chg="add mod">
          <ac:chgData name="Miraj Sinya" userId="a6e95797-5893-4261-9f10-8f81f198df75" providerId="ADAL" clId="{A4828A9C-58EF-4A2B-B124-6E606D7DB302}" dt="2023-04-13T23:01:33.107" v="459"/>
          <ac:spMkLst>
            <pc:docMk/>
            <pc:sldMk cId="1739270523" sldId="625"/>
            <ac:spMk id="6" creationId="{81D86A68-4D15-2AE4-C414-910D4A4B66B6}"/>
          </ac:spMkLst>
        </pc:spChg>
        <pc:picChg chg="mod ord">
          <ac:chgData name="Miraj Sinya" userId="a6e95797-5893-4261-9f10-8f81f198df75" providerId="ADAL" clId="{A4828A9C-58EF-4A2B-B124-6E606D7DB302}" dt="2023-04-13T23:00:04.771" v="438" actId="167"/>
          <ac:picMkLst>
            <pc:docMk/>
            <pc:sldMk cId="1739270523" sldId="625"/>
            <ac:picMk id="4" creationId="{7D78FBF2-7B08-E2C1-7C6A-002062DDC084}"/>
          </ac:picMkLst>
        </pc:picChg>
      </pc:sldChg>
      <pc:sldChg chg="addSp delSp modSp mod">
        <pc:chgData name="Miraj Sinya" userId="a6e95797-5893-4261-9f10-8f81f198df75" providerId="ADAL" clId="{A4828A9C-58EF-4A2B-B124-6E606D7DB302}" dt="2023-04-13T23:01:34.069" v="460"/>
        <pc:sldMkLst>
          <pc:docMk/>
          <pc:sldMk cId="810073572" sldId="626"/>
        </pc:sldMkLst>
        <pc:spChg chg="add del mod ord">
          <ac:chgData name="Miraj Sinya" userId="a6e95797-5893-4261-9f10-8f81f198df75" providerId="ADAL" clId="{A4828A9C-58EF-4A2B-B124-6E606D7DB302}" dt="2023-04-13T23:00:45.836" v="450" actId="21"/>
          <ac:spMkLst>
            <pc:docMk/>
            <pc:sldMk cId="810073572" sldId="626"/>
            <ac:spMk id="5" creationId="{CF037576-8EEA-BFDC-E730-3A36E4533359}"/>
          </ac:spMkLst>
        </pc:spChg>
        <pc:spChg chg="add mod">
          <ac:chgData name="Miraj Sinya" userId="a6e95797-5893-4261-9f10-8f81f198df75" providerId="ADAL" clId="{A4828A9C-58EF-4A2B-B124-6E606D7DB302}" dt="2023-04-13T23:01:34.069" v="460"/>
          <ac:spMkLst>
            <pc:docMk/>
            <pc:sldMk cId="810073572" sldId="626"/>
            <ac:spMk id="6" creationId="{CF5AFD39-DC81-FCCE-C828-BF5A1F3DAAFA}"/>
          </ac:spMkLst>
        </pc:spChg>
        <pc:picChg chg="mod ord">
          <ac:chgData name="Miraj Sinya" userId="a6e95797-5893-4261-9f10-8f81f198df75" providerId="ADAL" clId="{A4828A9C-58EF-4A2B-B124-6E606D7DB302}" dt="2023-04-13T23:00:44.466" v="449" actId="167"/>
          <ac:picMkLst>
            <pc:docMk/>
            <pc:sldMk cId="810073572" sldId="626"/>
            <ac:picMk id="4" creationId="{29AD41B9-C968-BDFA-23FA-59020ADB9974}"/>
          </ac:picMkLst>
        </pc:picChg>
      </pc:sldChg>
      <pc:sldChg chg="addSp delSp modSp mod">
        <pc:chgData name="Miraj Sinya" userId="a6e95797-5893-4261-9f10-8f81f198df75" providerId="ADAL" clId="{A4828A9C-58EF-4A2B-B124-6E606D7DB302}" dt="2023-04-13T23:01:35.062" v="461"/>
        <pc:sldMkLst>
          <pc:docMk/>
          <pc:sldMk cId="3790078528" sldId="627"/>
        </pc:sldMkLst>
        <pc:spChg chg="add del mod ord">
          <ac:chgData name="Miraj Sinya" userId="a6e95797-5893-4261-9f10-8f81f198df75" providerId="ADAL" clId="{A4828A9C-58EF-4A2B-B124-6E606D7DB302}" dt="2023-04-13T23:01:14.959" v="458" actId="478"/>
          <ac:spMkLst>
            <pc:docMk/>
            <pc:sldMk cId="3790078528" sldId="627"/>
            <ac:spMk id="5" creationId="{DF4DE835-EC99-6F53-6559-8DB33BD74F34}"/>
          </ac:spMkLst>
        </pc:spChg>
        <pc:spChg chg="add mod">
          <ac:chgData name="Miraj Sinya" userId="a6e95797-5893-4261-9f10-8f81f198df75" providerId="ADAL" clId="{A4828A9C-58EF-4A2B-B124-6E606D7DB302}" dt="2023-04-13T23:01:35.062" v="461"/>
          <ac:spMkLst>
            <pc:docMk/>
            <pc:sldMk cId="3790078528" sldId="627"/>
            <ac:spMk id="6" creationId="{85C39783-E2DB-9B27-6D68-E5EEEC25C833}"/>
          </ac:spMkLst>
        </pc:spChg>
        <pc:picChg chg="mod ord">
          <ac:chgData name="Miraj Sinya" userId="a6e95797-5893-4261-9f10-8f81f198df75" providerId="ADAL" clId="{A4828A9C-58EF-4A2B-B124-6E606D7DB302}" dt="2023-04-13T23:01:13.081" v="457" actId="167"/>
          <ac:picMkLst>
            <pc:docMk/>
            <pc:sldMk cId="3790078528" sldId="627"/>
            <ac:picMk id="4" creationId="{D019943F-187F-1430-E8C3-F8DEE94859AB}"/>
          </ac:picMkLst>
        </pc:picChg>
      </pc:sldChg>
    </pc:docChg>
  </pc:docChgLst>
  <pc:docChgLst>
    <pc:chgData name="Roger Mais" userId="S::c0863147@mylambton.ca::6b6b0e9d-267a-4963-973d-c8b0db34df8a" providerId="AD" clId="Web-{E69B68ED-91AE-4569-B003-DEB5B0212F4E}"/>
    <pc:docChg chg="modSld">
      <pc:chgData name="Roger Mais" userId="S::c0863147@mylambton.ca::6b6b0e9d-267a-4963-973d-c8b0db34df8a" providerId="AD" clId="Web-{E69B68ED-91AE-4569-B003-DEB5B0212F4E}" dt="2023-04-18T23:12:28.089" v="238" actId="20577"/>
      <pc:docMkLst>
        <pc:docMk/>
      </pc:docMkLst>
      <pc:sldChg chg="addSp delSp modSp">
        <pc:chgData name="Roger Mais" userId="S::c0863147@mylambton.ca::6b6b0e9d-267a-4963-973d-c8b0db34df8a" providerId="AD" clId="Web-{E69B68ED-91AE-4569-B003-DEB5B0212F4E}" dt="2023-04-18T23:12:28.089" v="238" actId="20577"/>
        <pc:sldMkLst>
          <pc:docMk/>
          <pc:sldMk cId="2524774510" sldId="613"/>
        </pc:sldMkLst>
        <pc:spChg chg="mod">
          <ac:chgData name="Roger Mais" userId="S::c0863147@mylambton.ca::6b6b0e9d-267a-4963-973d-c8b0db34df8a" providerId="AD" clId="Web-{E69B68ED-91AE-4569-B003-DEB5B0212F4E}" dt="2023-04-18T22:59:20.909" v="15" actId="20577"/>
          <ac:spMkLst>
            <pc:docMk/>
            <pc:sldMk cId="2524774510" sldId="613"/>
            <ac:spMk id="12" creationId="{FE7A8754-1D17-CAE0-CE0A-967A1EB9AFAF}"/>
          </ac:spMkLst>
        </pc:spChg>
        <pc:spChg chg="mod">
          <ac:chgData name="Roger Mais" userId="S::c0863147@mylambton.ca::6b6b0e9d-267a-4963-973d-c8b0db34df8a" providerId="AD" clId="Web-{E69B68ED-91AE-4569-B003-DEB5B0212F4E}" dt="2023-04-18T23:12:28.089" v="238" actId="20577"/>
          <ac:spMkLst>
            <pc:docMk/>
            <pc:sldMk cId="2524774510" sldId="613"/>
            <ac:spMk id="16" creationId="{167C3EA3-64D3-8A95-6738-7A356990E4BB}"/>
          </ac:spMkLst>
        </pc:spChg>
        <pc:spChg chg="mod">
          <ac:chgData name="Roger Mais" userId="S::c0863147@mylambton.ca::6b6b0e9d-267a-4963-973d-c8b0db34df8a" providerId="AD" clId="Web-{E69B68ED-91AE-4569-B003-DEB5B0212F4E}" dt="2023-04-18T22:56:10.407" v="6" actId="20577"/>
          <ac:spMkLst>
            <pc:docMk/>
            <pc:sldMk cId="2524774510" sldId="613"/>
            <ac:spMk id="19" creationId="{1F541673-A766-D3D7-A666-A4C68D414F42}"/>
          </ac:spMkLst>
        </pc:spChg>
        <pc:spChg chg="add del">
          <ac:chgData name="Roger Mais" userId="S::c0863147@mylambton.ca::6b6b0e9d-267a-4963-973d-c8b0db34df8a" providerId="AD" clId="Web-{E69B68ED-91AE-4569-B003-DEB5B0212F4E}" dt="2023-04-18T23:00:02.613" v="25"/>
          <ac:spMkLst>
            <pc:docMk/>
            <pc:sldMk cId="2524774510" sldId="613"/>
            <ac:spMk id="35" creationId="{6F98FFCB-C391-E277-0C14-FB7805BBD963}"/>
          </ac:spMkLst>
        </pc:spChg>
        <pc:spChg chg="add del">
          <ac:chgData name="Roger Mais" userId="S::c0863147@mylambton.ca::6b6b0e9d-267a-4963-973d-c8b0db34df8a" providerId="AD" clId="Web-{E69B68ED-91AE-4569-B003-DEB5B0212F4E}" dt="2023-04-18T23:00:02.613" v="24"/>
          <ac:spMkLst>
            <pc:docMk/>
            <pc:sldMk cId="2524774510" sldId="613"/>
            <ac:spMk id="37" creationId="{D02CA09F-8DB4-91D2-9327-70FB40DA38A8}"/>
          </ac:spMkLst>
        </pc:spChg>
        <pc:spChg chg="add del">
          <ac:chgData name="Roger Mais" userId="S::c0863147@mylambton.ca::6b6b0e9d-267a-4963-973d-c8b0db34df8a" providerId="AD" clId="Web-{E69B68ED-91AE-4569-B003-DEB5B0212F4E}" dt="2023-04-18T23:00:08.206" v="45"/>
          <ac:spMkLst>
            <pc:docMk/>
            <pc:sldMk cId="2524774510" sldId="613"/>
            <ac:spMk id="68" creationId="{CE10A077-CF17-2C3C-77F7-24842E12BEBA}"/>
          </ac:spMkLst>
        </pc:spChg>
        <pc:spChg chg="add del">
          <ac:chgData name="Roger Mais" userId="S::c0863147@mylambton.ca::6b6b0e9d-267a-4963-973d-c8b0db34df8a" providerId="AD" clId="Web-{E69B68ED-91AE-4569-B003-DEB5B0212F4E}" dt="2023-04-18T23:00:08.206" v="44"/>
          <ac:spMkLst>
            <pc:docMk/>
            <pc:sldMk cId="2524774510" sldId="613"/>
            <ac:spMk id="70" creationId="{B7A09FC1-4148-6E78-C060-755439EA1FC1}"/>
          </ac:spMkLst>
        </pc:spChg>
        <pc:spChg chg="mod">
          <ac:chgData name="Roger Mais" userId="S::c0863147@mylambton.ca::6b6b0e9d-267a-4963-973d-c8b0db34df8a" providerId="AD" clId="Web-{E69B68ED-91AE-4569-B003-DEB5B0212F4E}" dt="2023-04-18T23:06:53.492" v="146" actId="20577"/>
          <ac:spMkLst>
            <pc:docMk/>
            <pc:sldMk cId="2524774510" sldId="613"/>
            <ac:spMk id="100" creationId="{0253B519-D2FB-F483-33AD-851272BFB9B2}"/>
          </ac:spMkLst>
        </pc:spChg>
        <pc:spChg chg="add mod">
          <ac:chgData name="Roger Mais" userId="S::c0863147@mylambton.ca::6b6b0e9d-267a-4963-973d-c8b0db34df8a" providerId="AD" clId="Web-{E69B68ED-91AE-4569-B003-DEB5B0212F4E}" dt="2023-04-18T23:00:23.379" v="72" actId="1076"/>
          <ac:spMkLst>
            <pc:docMk/>
            <pc:sldMk cId="2524774510" sldId="613"/>
            <ac:spMk id="112" creationId="{F09BD068-078A-813A-60FB-2B9DD9BCC48C}"/>
          </ac:spMkLst>
        </pc:spChg>
        <pc:spChg chg="add mod">
          <ac:chgData name="Roger Mais" userId="S::c0863147@mylambton.ca::6b6b0e9d-267a-4963-973d-c8b0db34df8a" providerId="AD" clId="Web-{E69B68ED-91AE-4569-B003-DEB5B0212F4E}" dt="2023-04-18T23:00:23.394" v="73" actId="1076"/>
          <ac:spMkLst>
            <pc:docMk/>
            <pc:sldMk cId="2524774510" sldId="613"/>
            <ac:spMk id="116" creationId="{50A11298-8527-5AAE-6178-B539505C1461}"/>
          </ac:spMkLst>
        </pc:spChg>
        <pc:spChg chg="mod">
          <ac:chgData name="Roger Mais" userId="S::c0863147@mylambton.ca::6b6b0e9d-267a-4963-973d-c8b0db34df8a" providerId="AD" clId="Web-{E69B68ED-91AE-4569-B003-DEB5B0212F4E}" dt="2023-04-18T23:06:51.929" v="144" actId="20577"/>
          <ac:spMkLst>
            <pc:docMk/>
            <pc:sldMk cId="2524774510" sldId="613"/>
            <ac:spMk id="126" creationId="{56E4C471-5833-8B05-D685-9E09736A8569}"/>
          </ac:spMkLst>
        </pc:spChg>
        <pc:grpChg chg="add del">
          <ac:chgData name="Roger Mais" userId="S::c0863147@mylambton.ca::6b6b0e9d-267a-4963-973d-c8b0db34df8a" providerId="AD" clId="Web-{E69B68ED-91AE-4569-B003-DEB5B0212F4E}" dt="2023-04-18T23:00:02.613" v="29"/>
          <ac:grpSpMkLst>
            <pc:docMk/>
            <pc:sldMk cId="2524774510" sldId="613"/>
            <ac:grpSpMk id="6" creationId="{E98B6B7E-2C6A-503A-3BBB-784B93E09FFA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2.613" v="27"/>
          <ac:grpSpMkLst>
            <pc:docMk/>
            <pc:sldMk cId="2524774510" sldId="613"/>
            <ac:grpSpMk id="30" creationId="{B9FFF697-CB1F-4CE5-F8BD-609CB3F93AEF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2.613" v="23"/>
          <ac:grpSpMkLst>
            <pc:docMk/>
            <pc:sldMk cId="2524774510" sldId="613"/>
            <ac:grpSpMk id="50" creationId="{76E73D16-AD28-BCCD-82BC-BC4F059E693F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18.113" v="60"/>
          <ac:grpSpMkLst>
            <pc:docMk/>
            <pc:sldMk cId="2524774510" sldId="613"/>
            <ac:grpSpMk id="53" creationId="{A43EA5CD-42F6-0801-651E-401582094CBF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8.222" v="49"/>
          <ac:grpSpMkLst>
            <pc:docMk/>
            <pc:sldMk cId="2524774510" sldId="613"/>
            <ac:grpSpMk id="55" creationId="{2D4886FD-26E3-FABF-14F4-83C6E9F11132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8.206" v="47"/>
          <ac:grpSpMkLst>
            <pc:docMk/>
            <pc:sldMk cId="2524774510" sldId="613"/>
            <ac:grpSpMk id="64" creationId="{123E9255-337A-36B5-568D-7D597E9CFBF1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9.831" v="50"/>
          <ac:grpSpMkLst>
            <pc:docMk/>
            <pc:sldMk cId="2524774510" sldId="613"/>
            <ac:grpSpMk id="82" creationId="{FE1D9C3A-EA89-E00F-2215-08298B0AEED7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08.206" v="43"/>
          <ac:grpSpMkLst>
            <pc:docMk/>
            <pc:sldMk cId="2524774510" sldId="613"/>
            <ac:grpSpMk id="84" creationId="{814A6A02-EB7F-105F-81CD-2954AD5825A1}"/>
          </ac:grpSpMkLst>
        </pc:grpChg>
        <pc:grpChg chg="add mod">
          <ac:chgData name="Roger Mais" userId="S::c0863147@mylambton.ca::6b6b0e9d-267a-4963-973d-c8b0db34df8a" providerId="AD" clId="Web-{E69B68ED-91AE-4569-B003-DEB5B0212F4E}" dt="2023-04-18T23:00:23.300" v="68" actId="1076"/>
          <ac:grpSpMkLst>
            <pc:docMk/>
            <pc:sldMk cId="2524774510" sldId="613"/>
            <ac:grpSpMk id="88" creationId="{C03DE942-D2BF-B8CB-D2E1-6ECD7998BB24}"/>
          </ac:grpSpMkLst>
        </pc:grpChg>
        <pc:grpChg chg="add mod">
          <ac:chgData name="Roger Mais" userId="S::c0863147@mylambton.ca::6b6b0e9d-267a-4963-973d-c8b0db34df8a" providerId="AD" clId="Web-{E69B68ED-91AE-4569-B003-DEB5B0212F4E}" dt="2023-04-18T23:00:23.347" v="70" actId="1076"/>
          <ac:grpSpMkLst>
            <pc:docMk/>
            <pc:sldMk cId="2524774510" sldId="613"/>
            <ac:grpSpMk id="101" creationId="{07DC8A5F-FDAE-3D73-F1D8-C5FD4743392E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18.113" v="58"/>
          <ac:grpSpMkLst>
            <pc:docMk/>
            <pc:sldMk cId="2524774510" sldId="613"/>
            <ac:grpSpMk id="111" creationId="{4383CBC5-B21D-9EBC-1EE6-D715A945DDDC}"/>
          </ac:grpSpMkLst>
        </pc:grpChg>
        <pc:grpChg chg="add mod">
          <ac:chgData name="Roger Mais" userId="S::c0863147@mylambton.ca::6b6b0e9d-267a-4963-973d-c8b0db34df8a" providerId="AD" clId="Web-{E69B68ED-91AE-4569-B003-DEB5B0212F4E}" dt="2023-04-18T23:00:23.441" v="74" actId="1076"/>
          <ac:grpSpMkLst>
            <pc:docMk/>
            <pc:sldMk cId="2524774510" sldId="613"/>
            <ac:grpSpMk id="129" creationId="{BEF3D7FA-B438-8699-1A9F-67BED875526F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18.113" v="57"/>
          <ac:grpSpMkLst>
            <pc:docMk/>
            <pc:sldMk cId="2524774510" sldId="613"/>
            <ac:grpSpMk id="133" creationId="{DC1D9638-EED5-796B-5376-BCA0F8062DD3}"/>
          </ac:grpSpMkLst>
        </pc:grpChg>
        <pc:grpChg chg="add del">
          <ac:chgData name="Roger Mais" userId="S::c0863147@mylambton.ca::6b6b0e9d-267a-4963-973d-c8b0db34df8a" providerId="AD" clId="Web-{E69B68ED-91AE-4569-B003-DEB5B0212F4E}" dt="2023-04-18T23:00:18.113" v="56"/>
          <ac:grpSpMkLst>
            <pc:docMk/>
            <pc:sldMk cId="2524774510" sldId="613"/>
            <ac:grpSpMk id="134" creationId="{A26F6DA8-2B14-DFE9-4CDE-96A9F270FBB2}"/>
          </ac:grpSpMkLst>
        </pc:grpChg>
        <pc:cxnChg chg="add del">
          <ac:chgData name="Roger Mais" userId="S::c0863147@mylambton.ca::6b6b0e9d-267a-4963-973d-c8b0db34df8a" providerId="AD" clId="Web-{E69B68ED-91AE-4569-B003-DEB5B0212F4E}" dt="2023-04-18T23:00:02.613" v="28"/>
          <ac:cxnSpMkLst>
            <pc:docMk/>
            <pc:sldMk cId="2524774510" sldId="613"/>
            <ac:cxnSpMk id="8" creationId="{3E4992A2-D75B-9444-BB5A-31BF7071AF1C}"/>
          </ac:cxnSpMkLst>
        </pc:cxnChg>
        <pc:cxnChg chg="add del">
          <ac:chgData name="Roger Mais" userId="S::c0863147@mylambton.ca::6b6b0e9d-267a-4963-973d-c8b0db34df8a" providerId="AD" clId="Web-{E69B68ED-91AE-4569-B003-DEB5B0212F4E}" dt="2023-04-18T23:00:02.613" v="26"/>
          <ac:cxnSpMkLst>
            <pc:docMk/>
            <pc:sldMk cId="2524774510" sldId="613"/>
            <ac:cxnSpMk id="33" creationId="{0D126B77-B562-3EEF-EBCB-469250D6200D}"/>
          </ac:cxnSpMkLst>
        </pc:cxnChg>
        <pc:cxnChg chg="add del">
          <ac:chgData name="Roger Mais" userId="S::c0863147@mylambton.ca::6b6b0e9d-267a-4963-973d-c8b0db34df8a" providerId="AD" clId="Web-{E69B68ED-91AE-4569-B003-DEB5B0212F4E}" dt="2023-04-18T23:00:08.222" v="48"/>
          <ac:cxnSpMkLst>
            <pc:docMk/>
            <pc:sldMk cId="2524774510" sldId="613"/>
            <ac:cxnSpMk id="57" creationId="{D949BE36-62C0-CFAA-8C78-7B8549AD48FC}"/>
          </ac:cxnSpMkLst>
        </pc:cxnChg>
        <pc:cxnChg chg="add del">
          <ac:chgData name="Roger Mais" userId="S::c0863147@mylambton.ca::6b6b0e9d-267a-4963-973d-c8b0db34df8a" providerId="AD" clId="Web-{E69B68ED-91AE-4569-B003-DEB5B0212F4E}" dt="2023-04-18T23:00:08.206" v="46"/>
          <ac:cxnSpMkLst>
            <pc:docMk/>
            <pc:sldMk cId="2524774510" sldId="613"/>
            <ac:cxnSpMk id="66" creationId="{4BCBBCA1-DD5C-5BE7-3526-22878D920EBA}"/>
          </ac:cxnSpMkLst>
        </pc:cxnChg>
        <pc:cxnChg chg="add mod">
          <ac:chgData name="Roger Mais" userId="S::c0863147@mylambton.ca::6b6b0e9d-267a-4963-973d-c8b0db34df8a" providerId="AD" clId="Web-{E69B68ED-91AE-4569-B003-DEB5B0212F4E}" dt="2023-04-18T23:00:23.316" v="69" actId="1076"/>
          <ac:cxnSpMkLst>
            <pc:docMk/>
            <pc:sldMk cId="2524774510" sldId="613"/>
            <ac:cxnSpMk id="90" creationId="{66D57CB2-FD4F-4E75-109A-2F684618298F}"/>
          </ac:cxnSpMkLst>
        </pc:cxnChg>
        <pc:cxnChg chg="add del">
          <ac:chgData name="Roger Mais" userId="S::c0863147@mylambton.ca::6b6b0e9d-267a-4963-973d-c8b0db34df8a" providerId="AD" clId="Web-{E69B68ED-91AE-4569-B003-DEB5B0212F4E}" dt="2023-04-18T23:00:18.113" v="59"/>
          <ac:cxnSpMkLst>
            <pc:docMk/>
            <pc:sldMk cId="2524774510" sldId="613"/>
            <ac:cxnSpMk id="103" creationId="{B02F9337-0D11-863F-1287-015E6AF32346}"/>
          </ac:cxnSpMkLst>
        </pc:cxnChg>
        <pc:cxnChg chg="add mod">
          <ac:chgData name="Roger Mais" userId="S::c0863147@mylambton.ca::6b6b0e9d-267a-4963-973d-c8b0db34df8a" providerId="AD" clId="Web-{E69B68ED-91AE-4569-B003-DEB5B0212F4E}" dt="2023-04-18T23:00:23.363" v="71" actId="1076"/>
          <ac:cxnSpMkLst>
            <pc:docMk/>
            <pc:sldMk cId="2524774510" sldId="613"/>
            <ac:cxnSpMk id="104" creationId="{783CCCC9-1071-8CE4-1304-92D9104F418A}"/>
          </ac:cxnSpMkLst>
        </pc:cxnChg>
      </pc:sldChg>
    </pc:docChg>
  </pc:docChgLst>
  <pc:docChgLst>
    <pc:chgData name="Miraj Sinya" userId="a6e95797-5893-4261-9f10-8f81f198df75" providerId="ADAL" clId="{8472ECB8-F9E0-4601-97F7-CD5843E52E4A}"/>
    <pc:docChg chg="undo redo custSel addSld delSld modSld">
      <pc:chgData name="Miraj Sinya" userId="a6e95797-5893-4261-9f10-8f81f198df75" providerId="ADAL" clId="{8472ECB8-F9E0-4601-97F7-CD5843E52E4A}" dt="2023-04-20T01:59:47.968" v="1867" actId="20577"/>
      <pc:docMkLst>
        <pc:docMk/>
      </pc:docMkLst>
      <pc:sldChg chg="addSp delSp modSp mod">
        <pc:chgData name="Miraj Sinya" userId="a6e95797-5893-4261-9f10-8f81f198df75" providerId="ADAL" clId="{8472ECB8-F9E0-4601-97F7-CD5843E52E4A}" dt="2023-04-20T00:57:47.916" v="1248" actId="6549"/>
        <pc:sldMkLst>
          <pc:docMk/>
          <pc:sldMk cId="2270713310" sldId="598"/>
        </pc:sldMkLst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9" creationId="{D68E2E6C-591B-2532-3244-CFBEB3D97303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0" creationId="{194C363E-8956-61DC-7AED-1A4D89D0CD8E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1" creationId="{3A3401B7-0B9A-64D3-FD38-0D7661AAC177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2" creationId="{8C63BD26-9DB2-6690-DBEA-64A1A7872482}"/>
          </ac:spMkLst>
        </pc:spChg>
        <pc:spChg chg="mod topLvl">
          <ac:chgData name="Miraj Sinya" userId="a6e95797-5893-4261-9f10-8f81f198df75" providerId="ADAL" clId="{8472ECB8-F9E0-4601-97F7-CD5843E52E4A}" dt="2023-04-20T00:57:47.916" v="1248" actId="6549"/>
          <ac:spMkLst>
            <pc:docMk/>
            <pc:sldMk cId="2270713310" sldId="598"/>
            <ac:spMk id="13" creationId="{870E19FA-A503-4BB4-1309-FE812B2A0083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4" creationId="{8388DB81-DF81-4FFA-7CF6-137C2BFAE673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5" creationId="{86D889D8-F5A6-C97A-9028-43293FE71624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7" creationId="{3BF135E0-8D5C-E824-DC4F-E0B8023292B0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8" creationId="{00230051-6A9F-5AF4-C0A2-CFF5F2B67986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9" creationId="{E902FDB3-294B-A754-02B2-525D196A01F0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25" creationId="{7F6D9D56-FA06-FE8C-4412-DDCF7A3B76C2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26" creationId="{253AD0D3-4785-BD66-93EC-C2369DB15E3E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27" creationId="{8450EA4A-CF1A-E6F0-A0FB-20952272DCD9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29" creationId="{820D8888-DB2B-2224-A89D-902B31953387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31" creationId="{12F07E45-8ECE-FED8-3E02-EB6717A7F9B5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37" creationId="{0405C641-19C0-804F-704E-3B2CF82A1DC2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38" creationId="{A52F693B-2E26-34C3-BBC9-488E899AD1DD}"/>
          </ac:spMkLst>
        </pc:spChg>
        <pc:spChg chg="mod">
          <ac:chgData name="Miraj Sinya" userId="a6e95797-5893-4261-9f10-8f81f198df75" providerId="ADAL" clId="{8472ECB8-F9E0-4601-97F7-CD5843E52E4A}" dt="2023-04-19T01:50:49.065" v="110" actId="1076"/>
          <ac:spMkLst>
            <pc:docMk/>
            <pc:sldMk cId="2270713310" sldId="598"/>
            <ac:spMk id="40" creationId="{B2E7C7EA-B737-736F-8FEB-446BA2001AA7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1" creationId="{08A33A6B-1114-137B-5FEF-F28593A92B78}"/>
          </ac:spMkLst>
        </pc:spChg>
        <pc:spChg chg="mod topLvl">
          <ac:chgData name="Miraj Sinya" userId="a6e95797-5893-4261-9f10-8f81f198df75" providerId="ADAL" clId="{8472ECB8-F9E0-4601-97F7-CD5843E52E4A}" dt="2023-04-20T00:56:05.660" v="1221" actId="6549"/>
          <ac:spMkLst>
            <pc:docMk/>
            <pc:sldMk cId="2270713310" sldId="598"/>
            <ac:spMk id="42" creationId="{07901F46-999D-9599-80A5-952C25E4934D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3" creationId="{5429FFFC-21E5-9AB6-653F-4E9EB0272F10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4" creationId="{66A83041-8009-74B9-DC8D-760D13BCCD5D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5" creationId="{8EC4A7CD-3F65-6DAB-0069-14CAF624F374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6" creationId="{732D6F40-6BB6-B61F-B5D4-6ED14664FB5E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7" creationId="{6C2A5787-E9FE-3F54-31E8-A8A32278A8CC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48" creationId="{3E22BBCF-7641-59BC-D983-6FF39AB6B025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51" creationId="{FF8D7A68-8890-56DA-2DC5-9095A27AADDB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53" creationId="{49DF18EF-88EE-27E8-C598-618AFC55A609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54" creationId="{87BC25BA-267F-42D5-E179-6DCB3660A00D}"/>
          </ac:spMkLst>
        </pc:spChg>
        <pc:spChg chg="mod">
          <ac:chgData name="Miraj Sinya" userId="a6e95797-5893-4261-9f10-8f81f198df75" providerId="ADAL" clId="{8472ECB8-F9E0-4601-97F7-CD5843E52E4A}" dt="2023-04-19T01:52:10.109" v="123" actId="1076"/>
          <ac:spMkLst>
            <pc:docMk/>
            <pc:sldMk cId="2270713310" sldId="598"/>
            <ac:spMk id="55" creationId="{13B5E3E3-7C71-8E0A-4BC6-5A751E9DCC77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59" creationId="{25636ED2-C280-C3B9-4432-E5036C5D6EC7}"/>
          </ac:spMkLst>
        </pc:spChg>
        <pc:spChg chg="mod">
          <ac:chgData name="Miraj Sinya" userId="a6e95797-5893-4261-9f10-8f81f198df75" providerId="ADAL" clId="{8472ECB8-F9E0-4601-97F7-CD5843E52E4A}" dt="2023-04-19T01:51:37.513" v="120" actId="1076"/>
          <ac:spMkLst>
            <pc:docMk/>
            <pc:sldMk cId="2270713310" sldId="598"/>
            <ac:spMk id="60" creationId="{BFE7F602-4980-9420-92B7-CC205D756A7D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62" creationId="{3173DC67-D78A-36A1-8A6D-F09E1040DB16}"/>
          </ac:spMkLst>
        </pc:spChg>
        <pc:spChg chg="mod">
          <ac:chgData name="Miraj Sinya" userId="a6e95797-5893-4261-9f10-8f81f198df75" providerId="ADAL" clId="{8472ECB8-F9E0-4601-97F7-CD5843E52E4A}" dt="2023-04-19T01:51:18.220" v="117" actId="1076"/>
          <ac:spMkLst>
            <pc:docMk/>
            <pc:sldMk cId="2270713310" sldId="598"/>
            <ac:spMk id="63" creationId="{370E9CF7-7C75-02A8-7605-4F15DBCAA5D3}"/>
          </ac:spMkLst>
        </pc:spChg>
        <pc:spChg chg="mod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65" creationId="{72F1FAF7-4B96-54C1-AD0A-606B2F5C4346}"/>
          </ac:spMkLst>
        </pc:spChg>
        <pc:spChg chg="mod">
          <ac:chgData name="Miraj Sinya" userId="a6e95797-5893-4261-9f10-8f81f198df75" providerId="ADAL" clId="{8472ECB8-F9E0-4601-97F7-CD5843E52E4A}" dt="2023-04-19T01:51:02.644" v="113" actId="1076"/>
          <ac:spMkLst>
            <pc:docMk/>
            <pc:sldMk cId="2270713310" sldId="598"/>
            <ac:spMk id="69" creationId="{D51C7185-6514-40E9-8673-1E963920E5D8}"/>
          </ac:spMkLst>
        </pc:spChg>
        <pc:spChg chg="del mod">
          <ac:chgData name="Miraj Sinya" userId="a6e95797-5893-4261-9f10-8f81f198df75" providerId="ADAL" clId="{8472ECB8-F9E0-4601-97F7-CD5843E52E4A}" dt="2023-04-19T01:39:07.730" v="85" actId="478"/>
          <ac:spMkLst>
            <pc:docMk/>
            <pc:sldMk cId="2270713310" sldId="598"/>
            <ac:spMk id="84" creationId="{492A38A8-3B5D-8B46-40EA-4C4EDD6B7D31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26" creationId="{547479F3-9607-4581-8142-1D09D147583D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27" creationId="{BDA10210-5F4C-9A7B-ACC5-34A0DF6E7188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28" creationId="{962B4B26-64CC-79DB-2B4A-211E5C7FEC1C}"/>
          </ac:spMkLst>
        </pc:spChg>
        <pc:spChg chg="mod topLvl">
          <ac:chgData name="Miraj Sinya" userId="a6e95797-5893-4261-9f10-8f81f198df75" providerId="ADAL" clId="{8472ECB8-F9E0-4601-97F7-CD5843E52E4A}" dt="2023-04-19T01:48:59.518" v="92" actId="165"/>
          <ac:spMkLst>
            <pc:docMk/>
            <pc:sldMk cId="2270713310" sldId="598"/>
            <ac:spMk id="129" creationId="{E05E9642-0443-4E3A-BF85-B808DD4CA586}"/>
          </ac:spMkLst>
        </pc:spChg>
        <pc:grpChg chg="add del mod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20" creationId="{23E3AAF0-73FE-EB34-7F4F-005F1F0427A8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30" creationId="{07D8EC22-D5DB-5D52-5EEB-FC3D961B92CF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39" creationId="{2244FCFA-415A-2FC0-BD3E-55C740F16A3F}"/>
          </ac:grpSpMkLst>
        </pc:grpChg>
        <pc:grpChg chg="del">
          <ac:chgData name="Miraj Sinya" userId="a6e95797-5893-4261-9f10-8f81f198df75" providerId="ADAL" clId="{8472ECB8-F9E0-4601-97F7-CD5843E52E4A}" dt="2023-04-19T01:36:58.989" v="73" actId="478"/>
          <ac:grpSpMkLst>
            <pc:docMk/>
            <pc:sldMk cId="2270713310" sldId="598"/>
            <ac:grpSpMk id="50" creationId="{C074825C-3988-3E07-9C98-66699B87058E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52" creationId="{48D845CF-9E0C-B429-9775-0D484E01EA66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58" creationId="{42E73C8D-8DE8-D7B3-5353-0907A4D9DE80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61" creationId="{463B5678-DD8B-845F-10A5-57D58B5E15CA}"/>
          </ac:grpSpMkLst>
        </pc:grpChg>
        <pc:grpChg chg="mod topLvl">
          <ac:chgData name="Miraj Sinya" userId="a6e95797-5893-4261-9f10-8f81f198df75" providerId="ADAL" clId="{8472ECB8-F9E0-4601-97F7-CD5843E52E4A}" dt="2023-04-19T01:48:59.518" v="92" actId="165"/>
          <ac:grpSpMkLst>
            <pc:docMk/>
            <pc:sldMk cId="2270713310" sldId="598"/>
            <ac:grpSpMk id="64" creationId="{F65EA050-8FA9-F285-87A3-ADEABCA86E66}"/>
          </ac:grpSpMkLst>
        </pc:grp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4" creationId="{DBA91034-864C-8B5E-1E9F-7A4DB98FA648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32" creationId="{47334B4F-4322-D7B4-99B1-B4765BB6C0A5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33" creationId="{9886B12F-4C2D-761E-FCC6-2239DB73A8CA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34" creationId="{B2E45DCC-FF10-8FD1-4369-017CC908AA53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35" creationId="{7D577EC4-A2DD-AD24-E454-B239F0956124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36" creationId="{64A5C6D0-36EF-0864-CC16-CBD82913197D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70" creationId="{6B4209CA-FC52-CFD1-8EC3-49D83F3BCB1A}"/>
          </ac:picMkLst>
        </pc:picChg>
        <pc:picChg chg="mod topLvl">
          <ac:chgData name="Miraj Sinya" userId="a6e95797-5893-4261-9f10-8f81f198df75" providerId="ADAL" clId="{8472ECB8-F9E0-4601-97F7-CD5843E52E4A}" dt="2023-04-19T01:49:09.456" v="93" actId="14100"/>
          <ac:picMkLst>
            <pc:docMk/>
            <pc:sldMk cId="2270713310" sldId="598"/>
            <ac:picMk id="79" creationId="{56FD70D9-530E-AB96-5F32-222B4E4518D9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1026" creationId="{F643AD0D-A7E7-36A0-3794-C9DED26CD08E}"/>
          </ac:picMkLst>
        </pc:picChg>
        <pc:picChg chg="mod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1028" creationId="{024E302B-F66A-42CD-0225-0E4B41919E3E}"/>
          </ac:picMkLst>
        </pc:picChg>
        <pc:picChg chg="mod topLvl">
          <ac:chgData name="Miraj Sinya" userId="a6e95797-5893-4261-9f10-8f81f198df75" providerId="ADAL" clId="{8472ECB8-F9E0-4601-97F7-CD5843E52E4A}" dt="2023-04-19T01:49:12.003" v="94" actId="14100"/>
          <ac:picMkLst>
            <pc:docMk/>
            <pc:sldMk cId="2270713310" sldId="598"/>
            <ac:picMk id="1044" creationId="{BA245991-5EA3-2C08-82C9-CBEB383EA6F2}"/>
          </ac:picMkLst>
        </pc:picChg>
        <pc:picChg chg="mod topLvl">
          <ac:chgData name="Miraj Sinya" userId="a6e95797-5893-4261-9f10-8f81f198df75" providerId="ADAL" clId="{8472ECB8-F9E0-4601-97F7-CD5843E52E4A}" dt="2023-04-19T01:48:59.518" v="92" actId="165"/>
          <ac:picMkLst>
            <pc:docMk/>
            <pc:sldMk cId="2270713310" sldId="598"/>
            <ac:picMk id="1046" creationId="{BF6B4C31-1FAA-7456-15A4-E822D95B299B}"/>
          </ac:picMkLst>
        </pc:pic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3" creationId="{18472552-2D94-AAC1-41F8-A98A2B57E85A}"/>
          </ac:cxnSpMkLst>
        </pc:cxnChg>
        <pc:cxnChg chg="add 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8" creationId="{1DC59EDC-27F4-AF99-FE50-8285E4EF8AB9}"/>
          </ac:cxnSpMkLst>
        </pc:cxnChg>
        <pc:cxnChg chg="del mod">
          <ac:chgData name="Miraj Sinya" userId="a6e95797-5893-4261-9f10-8f81f198df75" providerId="ADAL" clId="{8472ECB8-F9E0-4601-97F7-CD5843E52E4A}" dt="2023-04-19T01:38:30.913" v="79" actId="478"/>
          <ac:cxnSpMkLst>
            <pc:docMk/>
            <pc:sldMk cId="2270713310" sldId="598"/>
            <ac:cxnSpMk id="16" creationId="{315FF501-2A3A-7301-238B-2AA170D24ABF}"/>
          </ac:cxnSpMkLst>
        </pc:cxn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21" creationId="{35D1EBB1-D891-B8F6-3B8F-DEB018AC6A8B}"/>
          </ac:cxnSpMkLst>
        </pc:cxn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22" creationId="{3D84FD24-EEBB-6C07-A276-F3F83800DCC7}"/>
          </ac:cxnSpMkLst>
        </pc:cxn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23" creationId="{FE749042-19EE-B922-89AD-0A4363E64D3F}"/>
          </ac:cxnSpMkLst>
        </pc:cxn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78" creationId="{93C56FD9-2EA9-BEF4-F1AC-398314F8D198}"/>
          </ac:cxnSpMkLst>
        </pc:cxnChg>
        <pc:cxnChg chg="mod topLvl">
          <ac:chgData name="Miraj Sinya" userId="a6e95797-5893-4261-9f10-8f81f198df75" providerId="ADAL" clId="{8472ECB8-F9E0-4601-97F7-CD5843E52E4A}" dt="2023-04-19T01:48:59.518" v="92" actId="165"/>
          <ac:cxnSpMkLst>
            <pc:docMk/>
            <pc:sldMk cId="2270713310" sldId="598"/>
            <ac:cxnSpMk id="90" creationId="{A80B7CAF-CBD3-547F-8771-B49203EFDA02}"/>
          </ac:cxnSpMkLst>
        </pc:cxnChg>
      </pc:sldChg>
      <pc:sldChg chg="addSp delSp modSp mod">
        <pc:chgData name="Miraj Sinya" userId="a6e95797-5893-4261-9f10-8f81f198df75" providerId="ADAL" clId="{8472ECB8-F9E0-4601-97F7-CD5843E52E4A}" dt="2023-04-18T22:40:54.437" v="12" actId="165"/>
        <pc:sldMkLst>
          <pc:docMk/>
          <pc:sldMk cId="4008453649" sldId="604"/>
        </pc:sldMkLst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3" creationId="{97633B9B-F889-5D5E-0E5B-0D2A16FE163C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4" creationId="{3E0624C2-3CA4-C025-005E-D6AA6CA169DE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26" creationId="{5AC3697F-6982-D642-1793-F336AC767421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27" creationId="{3A8E8C6A-580A-3B5A-5FB7-D230A786FADE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35" creationId="{AC9E11CE-AA4E-5386-609D-BE02B821CA0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45" creationId="{2FEEC535-D9B3-0E08-34B0-80D250C15750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46" creationId="{2F4F2E94-F516-12F0-56B6-88EC9D31EEE3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48" creationId="{62F57B32-AC43-F98A-B78F-4B64A5038B5A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49" creationId="{B919168B-FEB3-0904-995B-4CDAF0DB151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0" creationId="{9057268B-433B-A065-C201-B11D416E8BD8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1" creationId="{E5DCE7CD-4D4E-6F71-1ED4-3116BAFE78C1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3" creationId="{501A5534-6B00-F762-7D4E-0BADDE3A51D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4" creationId="{7CF55A49-EB64-CE0C-E4F2-6965442B0005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5" creationId="{9C35F43C-13D2-BAD5-DDF4-367EDC895F15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6" creationId="{51781712-9D58-4CF3-9C85-73E5DF4D7D2E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7" creationId="{E7340A8F-EFAF-D11D-DB91-982240AE1198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8" creationId="{34005C2C-028D-04E3-D8F4-AF76A4B1C8CB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59" creationId="{98F72F23-F95B-EBEC-C183-63CBF3A1929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0" creationId="{112B3C68-3149-EA51-FE6B-8CB5ADB1C7C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2" creationId="{B56EAF3C-3E2E-DFA6-05BA-49C2E85265D9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3" creationId="{B9B46C4F-369C-4CE5-A6F9-2695C2E44E5A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5" creationId="{104CF63E-76E3-24B0-D541-30A12913A694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6" creationId="{B2E74B05-C79B-BD7E-8A57-E8628EC41275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67" creationId="{45E23E6B-EE20-53B3-7258-6302D1B2B9D7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73" creationId="{9BE2350A-D31C-596C-4591-3AAD6D5AE7AC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86" creationId="{FDA39829-B064-0DA8-9EF5-6C17E8DF794F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91" creationId="{5DE652F2-3C31-3D3A-9A98-65EDE50A06D0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92" creationId="{3AA2A16C-491E-8787-B067-C6C2F9E40012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95" creationId="{5C9D86F3-194F-0954-1D2E-97B26A6B9FCE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98" creationId="{2FEEFF2B-50FF-2F80-8162-484D28890FBB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02" creationId="{F95C08DC-A326-EC4E-C19A-2AD7B5F18690}"/>
          </ac:spMkLst>
        </pc:spChg>
        <pc:spChg chg="mod topLvl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07" creationId="{D81F4F70-42AD-DAD4-EAC9-0CD75EC2A2D6}"/>
          </ac:spMkLst>
        </pc:spChg>
        <pc:spChg chg="mod topLvl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09" creationId="{BE86FAA1-DEF2-6525-9D8F-B29E447E1B28}"/>
          </ac:spMkLst>
        </pc:spChg>
        <pc:spChg chg="mod topLvl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13" creationId="{00B239E0-F60D-41BD-9027-9CBB147320CA}"/>
          </ac:spMkLst>
        </pc:spChg>
        <pc:spChg chg="mod topLvl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14" creationId="{000AAA09-85FE-BBDD-6F28-0F249686B04C}"/>
          </ac:spMkLst>
        </pc:spChg>
        <pc:spChg chg="mod topLvl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15" creationId="{CC703441-B1EC-442D-46E5-E44B686BFDF5}"/>
          </ac:spMkLst>
        </pc:spChg>
        <pc:spChg chg="mod">
          <ac:chgData name="Miraj Sinya" userId="a6e95797-5893-4261-9f10-8f81f198df75" providerId="ADAL" clId="{8472ECB8-F9E0-4601-97F7-CD5843E52E4A}" dt="2023-04-18T22:40:54.437" v="12" actId="165"/>
          <ac:spMkLst>
            <pc:docMk/>
            <pc:sldMk cId="4008453649" sldId="604"/>
            <ac:spMk id="127" creationId="{5C21D102-FC38-0AA8-BFA4-F93E93551240}"/>
          </ac:spMkLst>
        </pc:spChg>
        <pc:grpChg chg="add del 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5" creationId="{23C47FE5-F7E3-C29E-F968-0EA756E6C4B5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6" creationId="{7FD4ED9B-3BD9-DF3D-FF76-0C9A91C85AC8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5" creationId="{21DFAD16-CB08-DE9A-76F8-B89B1F60D52B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6" creationId="{BFD282B8-B98C-0974-1764-7CE4B24A9030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8" creationId="{AF8EB577-01E6-7FC2-3020-EDEAC661248D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20" creationId="{EA6D2C99-933E-9A59-5C21-3AE323C4EE49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23" creationId="{DE10E3DC-EF70-1B1E-ED31-4CB855C10ACC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28" creationId="{CFA39D07-0D62-A0E5-D725-933874AD631B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31" creationId="{61A4336F-BA8E-D550-DA5C-F6D0978CD103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36" creationId="{2D1B45EF-C550-8072-DAAB-703FD5A71583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37" creationId="{9313089D-72A8-E7B2-FE75-D9E8382E2036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38" creationId="{9C49C10D-2060-3731-63CA-587BF2333671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39" creationId="{7832AB89-9D1A-5890-35AE-8ABC8F34B3EF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0" creationId="{47E5B1DF-C59A-3059-2506-EC4AF3F71672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1" creationId="{EAA1920E-71BC-D034-6F07-40DB73F86CA1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2" creationId="{25926E4D-C8B7-02AC-FAEE-34A048E92079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3" creationId="{902226CA-2C17-74FC-F46B-0595E2C6DD2B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4" creationId="{2A408EC0-C503-1184-4C19-7700667CDAE2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47" creationId="{29987A72-FCBC-C78F-AE17-524D2607CD84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52" creationId="{F968ACB3-714D-CC2B-6A25-6C4FFD756184}"/>
          </ac:grpSpMkLst>
        </pc:grpChg>
        <pc:grpChg chg="mod topLvl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64" creationId="{9B703834-E084-41B9-AF35-C0FF489DF15E}"/>
          </ac:grpSpMkLst>
        </pc:grpChg>
        <pc:grpChg chg="mod topLvl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94" creationId="{ED4469D4-5FF3-49BB-AEA2-93163F9CEF1A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17" creationId="{F3A9D100-845F-E60F-A030-1FC58E1E74A0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18" creationId="{06EDB2DA-CC49-A8EB-DD38-C92E6737DD6F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19" creationId="{E1304D27-7FFC-450A-52AB-3E5162A39D76}"/>
          </ac:grpSpMkLst>
        </pc:grpChg>
        <pc:grpChg chg="mod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20" creationId="{3F40AA9D-7224-B4F8-8B84-9BF8FE1B5345}"/>
          </ac:grpSpMkLst>
        </pc:grpChg>
        <pc:grpChg chg="mod topLvl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26" creationId="{C06F1783-9D32-11EC-0711-69DA16ABE135}"/>
          </ac:grpSpMkLst>
        </pc:grpChg>
        <pc:grpChg chg="mod topLvl">
          <ac:chgData name="Miraj Sinya" userId="a6e95797-5893-4261-9f10-8f81f198df75" providerId="ADAL" clId="{8472ECB8-F9E0-4601-97F7-CD5843E52E4A}" dt="2023-04-18T22:40:54.437" v="12" actId="165"/>
          <ac:grpSpMkLst>
            <pc:docMk/>
            <pc:sldMk cId="4008453649" sldId="604"/>
            <ac:grpSpMk id="129" creationId="{83F8A149-CFD5-32A9-8494-E3326E3E7483}"/>
          </ac:grpSpMkLst>
        </pc:grp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76" creationId="{C87DF238-C270-CF2C-937C-2E05F162238D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77" creationId="{E041BF19-F61A-6106-EC19-E504EE001F3A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97" creationId="{7DB99372-2B7D-273F-6C58-D8C3A0A75670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99" creationId="{5DB24259-510C-53D0-D3A8-91CF3AF09128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100" creationId="{44D523FE-BA79-FE17-CD86-2175F39520D3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101" creationId="{9ADC0406-9B86-9505-BC21-9377AAA1F8A0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124" creationId="{DCF01018-7B83-E908-5BBC-C2033BFD8B82}"/>
          </ac:picMkLst>
        </pc:picChg>
        <pc:picChg chg="mod">
          <ac:chgData name="Miraj Sinya" userId="a6e95797-5893-4261-9f10-8f81f198df75" providerId="ADAL" clId="{8472ECB8-F9E0-4601-97F7-CD5843E52E4A}" dt="2023-04-18T22:40:54.437" v="12" actId="165"/>
          <ac:picMkLst>
            <pc:docMk/>
            <pc:sldMk cId="4008453649" sldId="604"/>
            <ac:picMk id="125" creationId="{583508FE-0964-F111-1B7A-7A3A85195A78}"/>
          </ac:picMkLst>
        </pc:pic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10" creationId="{B6A2670B-2D4F-23D0-CDED-F52543642720}"/>
          </ac:cxnSpMkLst>
        </pc:cxn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14" creationId="{3BECD545-7D98-CF75-EA3D-05B7FE0577A0}"/>
          </ac:cxnSpMkLst>
        </pc:cxn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25" creationId="{2926DB7F-176C-D217-F2D9-B3D4A36DA5CC}"/>
          </ac:cxnSpMkLst>
        </pc:cxn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85" creationId="{E612D442-1E02-D7BB-53D9-E22487A18832}"/>
          </ac:cxnSpMkLst>
        </pc:cxn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96" creationId="{9B9208B1-75FF-3F85-4461-28FCBA733D46}"/>
          </ac:cxnSpMkLst>
        </pc:cxnChg>
        <pc:cxnChg chg="mod topLvl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110" creationId="{C6A40630-DE55-85CC-B060-6E2CDD221899}"/>
          </ac:cxnSpMkLst>
        </pc:cxnChg>
        <pc:cxnChg chg="mod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128" creationId="{591E55C6-E972-8843-6389-68408E406BF9}"/>
          </ac:cxnSpMkLst>
        </pc:cxnChg>
        <pc:cxnChg chg="mod topLvl">
          <ac:chgData name="Miraj Sinya" userId="a6e95797-5893-4261-9f10-8f81f198df75" providerId="ADAL" clId="{8472ECB8-F9E0-4601-97F7-CD5843E52E4A}" dt="2023-04-18T22:40:54.437" v="12" actId="165"/>
          <ac:cxnSpMkLst>
            <pc:docMk/>
            <pc:sldMk cId="4008453649" sldId="604"/>
            <ac:cxnSpMk id="130" creationId="{96617E30-D9D0-21A4-0B2B-277BB33F8537}"/>
          </ac:cxnSpMkLst>
        </pc:cxnChg>
      </pc:sldChg>
      <pc:sldChg chg="modSp mod">
        <pc:chgData name="Miraj Sinya" userId="a6e95797-5893-4261-9f10-8f81f198df75" providerId="ADAL" clId="{8472ECB8-F9E0-4601-97F7-CD5843E52E4A}" dt="2023-04-19T03:25:32.117" v="455" actId="14100"/>
        <pc:sldMkLst>
          <pc:docMk/>
          <pc:sldMk cId="1556697206" sldId="607"/>
        </pc:sldMkLst>
        <pc:spChg chg="mod">
          <ac:chgData name="Miraj Sinya" userId="a6e95797-5893-4261-9f10-8f81f198df75" providerId="ADAL" clId="{8472ECB8-F9E0-4601-97F7-CD5843E52E4A}" dt="2023-04-19T02:22:18.841" v="185" actId="113"/>
          <ac:spMkLst>
            <pc:docMk/>
            <pc:sldMk cId="1556697206" sldId="607"/>
            <ac:spMk id="9" creationId="{2BBF528D-8DE3-6D80-1E4F-E7B77E84D140}"/>
          </ac:spMkLst>
        </pc:spChg>
        <pc:spChg chg="mod">
          <ac:chgData name="Miraj Sinya" userId="a6e95797-5893-4261-9f10-8f81f198df75" providerId="ADAL" clId="{8472ECB8-F9E0-4601-97F7-CD5843E52E4A}" dt="2023-04-19T02:22:07.304" v="184" actId="1076"/>
          <ac:spMkLst>
            <pc:docMk/>
            <pc:sldMk cId="1556697206" sldId="607"/>
            <ac:spMk id="32" creationId="{4FBB6B39-AD64-B17B-27EA-B34F8344F3DA}"/>
          </ac:spMkLst>
        </pc:spChg>
        <pc:spChg chg="mod">
          <ac:chgData name="Miraj Sinya" userId="a6e95797-5893-4261-9f10-8f81f198df75" providerId="ADAL" clId="{8472ECB8-F9E0-4601-97F7-CD5843E52E4A}" dt="2023-04-19T01:56:21.981" v="129" actId="14100"/>
          <ac:spMkLst>
            <pc:docMk/>
            <pc:sldMk cId="1556697206" sldId="607"/>
            <ac:spMk id="69" creationId="{F93BCBB8-9AE3-4E0D-F9A0-FB35A746A9A5}"/>
          </ac:spMkLst>
        </pc:spChg>
        <pc:spChg chg="mod">
          <ac:chgData name="Miraj Sinya" userId="a6e95797-5893-4261-9f10-8f81f198df75" providerId="ADAL" clId="{8472ECB8-F9E0-4601-97F7-CD5843E52E4A}" dt="2023-04-19T02:22:44.931" v="190" actId="6549"/>
          <ac:spMkLst>
            <pc:docMk/>
            <pc:sldMk cId="1556697206" sldId="607"/>
            <ac:spMk id="71" creationId="{F87EE616-5E7B-DE17-B746-3F31899251CE}"/>
          </ac:spMkLst>
        </pc:spChg>
        <pc:cxnChg chg="mod">
          <ac:chgData name="Miraj Sinya" userId="a6e95797-5893-4261-9f10-8f81f198df75" providerId="ADAL" clId="{8472ECB8-F9E0-4601-97F7-CD5843E52E4A}" dt="2023-04-19T03:25:32.117" v="455" actId="14100"/>
          <ac:cxnSpMkLst>
            <pc:docMk/>
            <pc:sldMk cId="1556697206" sldId="607"/>
            <ac:cxnSpMk id="6" creationId="{46E88740-EDE0-4CF7-1202-5AA9B3170A5F}"/>
          </ac:cxnSpMkLst>
        </pc:cxnChg>
      </pc:sldChg>
      <pc:sldChg chg="modSp mod">
        <pc:chgData name="Miraj Sinya" userId="a6e95797-5893-4261-9f10-8f81f198df75" providerId="ADAL" clId="{8472ECB8-F9E0-4601-97F7-CD5843E52E4A}" dt="2023-04-20T00:53:58.780" v="1207" actId="20577"/>
        <pc:sldMkLst>
          <pc:docMk/>
          <pc:sldMk cId="634381215" sldId="608"/>
        </pc:sldMkLst>
        <pc:spChg chg="mod">
          <ac:chgData name="Miraj Sinya" userId="a6e95797-5893-4261-9f10-8f81f198df75" providerId="ADAL" clId="{8472ECB8-F9E0-4601-97F7-CD5843E52E4A}" dt="2023-04-19T23:35:51.834" v="1037" actId="20577"/>
          <ac:spMkLst>
            <pc:docMk/>
            <pc:sldMk cId="634381215" sldId="608"/>
            <ac:spMk id="9" creationId="{2BBF528D-8DE3-6D80-1E4F-E7B77E84D140}"/>
          </ac:spMkLst>
        </pc:spChg>
        <pc:spChg chg="mod">
          <ac:chgData name="Miraj Sinya" userId="a6e95797-5893-4261-9f10-8f81f198df75" providerId="ADAL" clId="{8472ECB8-F9E0-4601-97F7-CD5843E52E4A}" dt="2023-04-20T00:53:58.780" v="1207" actId="20577"/>
          <ac:spMkLst>
            <pc:docMk/>
            <pc:sldMk cId="634381215" sldId="608"/>
            <ac:spMk id="31" creationId="{6ADF8A60-9480-5143-EF62-9EC833519468}"/>
          </ac:spMkLst>
        </pc:spChg>
      </pc:sldChg>
      <pc:sldChg chg="modSp mod">
        <pc:chgData name="Miraj Sinya" userId="a6e95797-5893-4261-9f10-8f81f198df75" providerId="ADAL" clId="{8472ECB8-F9E0-4601-97F7-CD5843E52E4A}" dt="2023-04-20T01:59:35.438" v="1863" actId="20577"/>
        <pc:sldMkLst>
          <pc:docMk/>
          <pc:sldMk cId="2265658142" sldId="609"/>
        </pc:sldMkLst>
        <pc:spChg chg="mod">
          <ac:chgData name="Miraj Sinya" userId="a6e95797-5893-4261-9f10-8f81f198df75" providerId="ADAL" clId="{8472ECB8-F9E0-4601-97F7-CD5843E52E4A}" dt="2023-04-19T18:54:08.239" v="894" actId="20577"/>
          <ac:spMkLst>
            <pc:docMk/>
            <pc:sldMk cId="2265658142" sldId="609"/>
            <ac:spMk id="9" creationId="{2BBF528D-8DE3-6D80-1E4F-E7B77E84D140}"/>
          </ac:spMkLst>
        </pc:spChg>
        <pc:spChg chg="mod">
          <ac:chgData name="Miraj Sinya" userId="a6e95797-5893-4261-9f10-8f81f198df75" providerId="ADAL" clId="{8472ECB8-F9E0-4601-97F7-CD5843E52E4A}" dt="2023-04-20T01:59:35.438" v="1863" actId="20577"/>
          <ac:spMkLst>
            <pc:docMk/>
            <pc:sldMk cId="2265658142" sldId="609"/>
            <ac:spMk id="31" creationId="{6ADF8A60-9480-5143-EF62-9EC833519468}"/>
          </ac:spMkLst>
        </pc:spChg>
      </pc:sldChg>
      <pc:sldChg chg="modSp mod">
        <pc:chgData name="Miraj Sinya" userId="a6e95797-5893-4261-9f10-8f81f198df75" providerId="ADAL" clId="{8472ECB8-F9E0-4601-97F7-CD5843E52E4A}" dt="2023-04-20T01:59:47.968" v="1867" actId="20577"/>
        <pc:sldMkLst>
          <pc:docMk/>
          <pc:sldMk cId="3629486408" sldId="611"/>
        </pc:sldMkLst>
        <pc:spChg chg="mod">
          <ac:chgData name="Miraj Sinya" userId="a6e95797-5893-4261-9f10-8f81f198df75" providerId="ADAL" clId="{8472ECB8-F9E0-4601-97F7-CD5843E52E4A}" dt="2023-04-19T18:57:04.450" v="1031" actId="20577"/>
          <ac:spMkLst>
            <pc:docMk/>
            <pc:sldMk cId="3629486408" sldId="611"/>
            <ac:spMk id="9" creationId="{2BBF528D-8DE3-6D80-1E4F-E7B77E84D140}"/>
          </ac:spMkLst>
        </pc:spChg>
        <pc:spChg chg="mod">
          <ac:chgData name="Miraj Sinya" userId="a6e95797-5893-4261-9f10-8f81f198df75" providerId="ADAL" clId="{8472ECB8-F9E0-4601-97F7-CD5843E52E4A}" dt="2023-04-20T01:59:47.968" v="1867" actId="20577"/>
          <ac:spMkLst>
            <pc:docMk/>
            <pc:sldMk cId="3629486408" sldId="611"/>
            <ac:spMk id="31" creationId="{6ADF8A60-9480-5143-EF62-9EC833519468}"/>
          </ac:spMkLst>
        </pc:spChg>
        <pc:graphicFrameChg chg="mod">
          <ac:chgData name="Miraj Sinya" userId="a6e95797-5893-4261-9f10-8f81f198df75" providerId="ADAL" clId="{8472ECB8-F9E0-4601-97F7-CD5843E52E4A}" dt="2023-04-19T18:55:55.880" v="951" actId="1076"/>
          <ac:graphicFrameMkLst>
            <pc:docMk/>
            <pc:sldMk cId="3629486408" sldId="611"/>
            <ac:graphicFrameMk id="3" creationId="{9B087058-02CA-5635-505E-FC4918D2726A}"/>
          </ac:graphicFrameMkLst>
        </pc:graphicFrameChg>
      </pc:sldChg>
      <pc:sldChg chg="addSp delSp modSp mod">
        <pc:chgData name="Miraj Sinya" userId="a6e95797-5893-4261-9f10-8f81f198df75" providerId="ADAL" clId="{8472ECB8-F9E0-4601-97F7-CD5843E52E4A}" dt="2023-04-18T22:40:43.019" v="9" actId="165"/>
        <pc:sldMkLst>
          <pc:docMk/>
          <pc:sldMk cId="878837709" sldId="612"/>
        </pc:sldMkLst>
        <pc:spChg chg="mod topLvl">
          <ac:chgData name="Miraj Sinya" userId="a6e95797-5893-4261-9f10-8f81f198df75" providerId="ADAL" clId="{8472ECB8-F9E0-4601-97F7-CD5843E52E4A}" dt="2023-04-18T22:40:43.019" v="9" actId="165"/>
          <ac:spMkLst>
            <pc:docMk/>
            <pc:sldMk cId="878837709" sldId="612"/>
            <ac:spMk id="13" creationId="{B698DED3-6EBE-9420-4050-DD8821FCBAF3}"/>
          </ac:spMkLst>
        </pc:spChg>
        <pc:grpChg chg="add del mod">
          <ac:chgData name="Miraj Sinya" userId="a6e95797-5893-4261-9f10-8f81f198df75" providerId="ADAL" clId="{8472ECB8-F9E0-4601-97F7-CD5843E52E4A}" dt="2023-04-18T22:40:43.019" v="9" actId="165"/>
          <ac:grpSpMkLst>
            <pc:docMk/>
            <pc:sldMk cId="878837709" sldId="612"/>
            <ac:grpSpMk id="3" creationId="{2C9DF943-48F1-FF58-1119-9BB8201C4B2B}"/>
          </ac:grpSpMkLst>
        </pc:grpChg>
        <pc:picChg chg="mod topLvl">
          <ac:chgData name="Miraj Sinya" userId="a6e95797-5893-4261-9f10-8f81f198df75" providerId="ADAL" clId="{8472ECB8-F9E0-4601-97F7-CD5843E52E4A}" dt="2023-04-18T22:40:43.019" v="9" actId="165"/>
          <ac:picMkLst>
            <pc:docMk/>
            <pc:sldMk cId="878837709" sldId="612"/>
            <ac:picMk id="5" creationId="{5B008558-63AD-8B3B-2A2E-C1978672EB7D}"/>
          </ac:picMkLst>
        </pc:picChg>
      </pc:sldChg>
      <pc:sldChg chg="addSp delSp modSp del mod">
        <pc:chgData name="Miraj Sinya" userId="a6e95797-5893-4261-9f10-8f81f198df75" providerId="ADAL" clId="{8472ECB8-F9E0-4601-97F7-CD5843E52E4A}" dt="2023-04-19T02:45:28.379" v="212" actId="47"/>
        <pc:sldMkLst>
          <pc:docMk/>
          <pc:sldMk cId="2524774510" sldId="613"/>
        </pc:sldMkLst>
        <pc:spChg chg="mod topLvl">
          <ac:chgData name="Miraj Sinya" userId="a6e95797-5893-4261-9f10-8f81f198df75" providerId="ADAL" clId="{8472ECB8-F9E0-4601-97F7-CD5843E52E4A}" dt="2023-04-19T02:06:28.203" v="145" actId="1076"/>
          <ac:spMkLst>
            <pc:docMk/>
            <pc:sldMk cId="2524774510" sldId="613"/>
            <ac:spMk id="12" creationId="{FE7A8754-1D17-CAE0-CE0A-967A1EB9AFAF}"/>
          </ac:spMkLst>
        </pc:spChg>
        <pc:spChg chg="mod topLvl">
          <ac:chgData name="Miraj Sinya" userId="a6e95797-5893-4261-9f10-8f81f198df75" providerId="ADAL" clId="{8472ECB8-F9E0-4601-97F7-CD5843E52E4A}" dt="2023-04-19T02:06:30.845" v="146" actId="1076"/>
          <ac:spMkLst>
            <pc:docMk/>
            <pc:sldMk cId="2524774510" sldId="613"/>
            <ac:spMk id="13" creationId="{6960C97D-C254-5AED-AD73-3CEA2327AA91}"/>
          </ac:spMkLst>
        </pc:spChg>
        <pc:spChg chg="mod topLvl">
          <ac:chgData name="Miraj Sinya" userId="a6e95797-5893-4261-9f10-8f81f198df75" providerId="ADAL" clId="{8472ECB8-F9E0-4601-97F7-CD5843E52E4A}" dt="2023-04-19T02:06:38.124" v="148" actId="1076"/>
          <ac:spMkLst>
            <pc:docMk/>
            <pc:sldMk cId="2524774510" sldId="613"/>
            <ac:spMk id="14" creationId="{D8F8D58D-1E37-5616-F4E4-A3A1C455860A}"/>
          </ac:spMkLst>
        </pc:spChg>
        <pc:spChg chg="mod topLvl">
          <ac:chgData name="Miraj Sinya" userId="a6e95797-5893-4261-9f10-8f81f198df75" providerId="ADAL" clId="{8472ECB8-F9E0-4601-97F7-CD5843E52E4A}" dt="2023-04-19T02:06:38.124" v="148" actId="1076"/>
          <ac:spMkLst>
            <pc:docMk/>
            <pc:sldMk cId="2524774510" sldId="613"/>
            <ac:spMk id="16" creationId="{167C3EA3-64D3-8A95-6738-7A356990E4BB}"/>
          </ac:spMkLst>
        </pc:spChg>
        <pc:spChg chg="mod topLvl">
          <ac:chgData name="Miraj Sinya" userId="a6e95797-5893-4261-9f10-8f81f198df75" providerId="ADAL" clId="{8472ECB8-F9E0-4601-97F7-CD5843E52E4A}" dt="2023-04-19T02:04:53.975" v="139" actId="14100"/>
          <ac:spMkLst>
            <pc:docMk/>
            <pc:sldMk cId="2524774510" sldId="613"/>
            <ac:spMk id="17" creationId="{3E86B7E6-129E-B1E4-6FBC-909C171DD2BD}"/>
          </ac:spMkLst>
        </pc:spChg>
        <pc:spChg chg="mod topLvl">
          <ac:chgData name="Miraj Sinya" userId="a6e95797-5893-4261-9f10-8f81f198df75" providerId="ADAL" clId="{8472ECB8-F9E0-4601-97F7-CD5843E52E4A}" dt="2023-04-19T02:19:49.190" v="175" actId="179"/>
          <ac:spMkLst>
            <pc:docMk/>
            <pc:sldMk cId="2524774510" sldId="613"/>
            <ac:spMk id="19" creationId="{1F541673-A766-D3D7-A666-A4C68D414F42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21" creationId="{C9499847-F8DF-A119-DA3A-92ED3B09371E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24" creationId="{600981A4-1803-0ACC-3CB6-9B7E72CAFCF8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95" creationId="{1A1BABD9-6395-3D6C-9F00-AA0356ECBFE5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96" creationId="{A1CFA37B-DB25-5AB7-49AE-98D2F9566E38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97" creationId="{3301A905-9CCC-9AC8-4D1F-962A409DDE99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98" creationId="{61F1DE77-45EC-910F-FA81-8F886FEBA9C4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05" creationId="{B749FBA3-56A9-A2D9-39AE-762A267D91B9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06" creationId="{9D5CA23A-ECAD-2151-9E2F-C7847612CFB1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08" creationId="{11DCEBA1-8932-EDB5-4FDB-33D262D68D64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09" creationId="{D8D7BC75-5B08-7B21-CD55-EC33ACB3FFEE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13" creationId="{18925B66-02CE-DEA6-0298-6CCF3D40F160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14" creationId="{337BAEE9-8B12-772C-47D3-7721AE9049EF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35" creationId="{0235A1A1-D00C-58B8-9F24-2EB7DFD50CCB}"/>
          </ac:spMkLst>
        </pc:spChg>
        <pc:spChg chg="mod">
          <ac:chgData name="Miraj Sinya" userId="a6e95797-5893-4261-9f10-8f81f198df75" providerId="ADAL" clId="{8472ECB8-F9E0-4601-97F7-CD5843E52E4A}" dt="2023-04-18T22:41:42.723" v="24" actId="165"/>
          <ac:spMkLst>
            <pc:docMk/>
            <pc:sldMk cId="2524774510" sldId="613"/>
            <ac:spMk id="136" creationId="{DF344738-84D6-A7B7-F448-A3147476F56F}"/>
          </ac:spMkLst>
        </pc:spChg>
        <pc:grpChg chg="add del mod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3" creationId="{9143C932-79AF-E68C-CDD5-696D14D3FB13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20" creationId="{6B2346EF-EC9B-6F69-6F99-F7D10D4C2203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23" creationId="{B5A6B671-3D95-2E85-FB81-F1D75852F38E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53" creationId="{A43EA5CD-42F6-0801-651E-401582094CBF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82" creationId="{FE1D9C3A-EA89-E00F-2215-08298B0AEED7}"/>
          </ac:grpSpMkLst>
        </pc:grpChg>
        <pc:grpChg chg="mod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107" creationId="{BD93B3B7-A65B-8533-E92A-05A885C0FDED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111" creationId="{4383CBC5-B21D-9EBC-1EE6-D715A945DDDC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133" creationId="{DC1D9638-EED5-796B-5376-BCA0F8062DD3}"/>
          </ac:grpSpMkLst>
        </pc:grpChg>
        <pc:grpChg chg="mod topLvl">
          <ac:chgData name="Miraj Sinya" userId="a6e95797-5893-4261-9f10-8f81f198df75" providerId="ADAL" clId="{8472ECB8-F9E0-4601-97F7-CD5843E52E4A}" dt="2023-04-18T22:41:42.723" v="24" actId="165"/>
          <ac:grpSpMkLst>
            <pc:docMk/>
            <pc:sldMk cId="2524774510" sldId="613"/>
            <ac:grpSpMk id="134" creationId="{A26F6DA8-2B14-DFE9-4CDE-96A9F270FBB2}"/>
          </ac:grpSpMkLst>
        </pc:grpChg>
        <pc:cxnChg chg="mod topLvl">
          <ac:chgData name="Miraj Sinya" userId="a6e95797-5893-4261-9f10-8f81f198df75" providerId="ADAL" clId="{8472ECB8-F9E0-4601-97F7-CD5843E52E4A}" dt="2023-04-19T02:06:34.091" v="147" actId="1076"/>
          <ac:cxnSpMkLst>
            <pc:docMk/>
            <pc:sldMk cId="2524774510" sldId="613"/>
            <ac:cxnSpMk id="15" creationId="{48B2C8EC-7BB0-6BE4-5058-F8275E640070}"/>
          </ac:cxnSpMkLst>
        </pc:cxnChg>
        <pc:cxnChg chg="mod topLvl">
          <ac:chgData name="Miraj Sinya" userId="a6e95797-5893-4261-9f10-8f81f198df75" providerId="ADAL" clId="{8472ECB8-F9E0-4601-97F7-CD5843E52E4A}" dt="2023-04-19T02:04:50.958" v="138" actId="1076"/>
          <ac:cxnSpMkLst>
            <pc:docMk/>
            <pc:sldMk cId="2524774510" sldId="613"/>
            <ac:cxnSpMk id="18" creationId="{133FE64F-9467-00A4-2DCB-DF4196653732}"/>
          </ac:cxnSpMkLst>
        </pc:cxnChg>
        <pc:cxnChg chg="mod">
          <ac:chgData name="Miraj Sinya" userId="a6e95797-5893-4261-9f10-8f81f198df75" providerId="ADAL" clId="{8472ECB8-F9E0-4601-97F7-CD5843E52E4A}" dt="2023-04-18T22:41:42.723" v="24" actId="165"/>
          <ac:cxnSpMkLst>
            <pc:docMk/>
            <pc:sldMk cId="2524774510" sldId="613"/>
            <ac:cxnSpMk id="22" creationId="{327B5C27-BA4E-40ED-284A-ABF5444EE0AA}"/>
          </ac:cxnSpMkLst>
        </pc:cxnChg>
        <pc:cxnChg chg="mod">
          <ac:chgData name="Miraj Sinya" userId="a6e95797-5893-4261-9f10-8f81f198df75" providerId="ADAL" clId="{8472ECB8-F9E0-4601-97F7-CD5843E52E4A}" dt="2023-04-18T22:41:42.723" v="24" actId="165"/>
          <ac:cxnSpMkLst>
            <pc:docMk/>
            <pc:sldMk cId="2524774510" sldId="613"/>
            <ac:cxnSpMk id="25" creationId="{4E4DE28F-82BA-51E8-7CF2-E2C191552C10}"/>
          </ac:cxnSpMkLst>
        </pc:cxnChg>
        <pc:cxnChg chg="mod topLvl">
          <ac:chgData name="Miraj Sinya" userId="a6e95797-5893-4261-9f10-8f81f198df75" providerId="ADAL" clId="{8472ECB8-F9E0-4601-97F7-CD5843E52E4A}" dt="2023-04-18T22:41:42.723" v="24" actId="165"/>
          <ac:cxnSpMkLst>
            <pc:docMk/>
            <pc:sldMk cId="2524774510" sldId="613"/>
            <ac:cxnSpMk id="103" creationId="{B02F9337-0D11-863F-1287-015E6AF32346}"/>
          </ac:cxnSpMkLst>
        </pc:cxnChg>
      </pc:sldChg>
      <pc:sldChg chg="addSp delSp modSp mod">
        <pc:chgData name="Miraj Sinya" userId="a6e95797-5893-4261-9f10-8f81f198df75" providerId="ADAL" clId="{8472ECB8-F9E0-4601-97F7-CD5843E52E4A}" dt="2023-04-20T00:59:51.514" v="1249" actId="207"/>
        <pc:sldMkLst>
          <pc:docMk/>
          <pc:sldMk cId="2279341814" sldId="614"/>
        </pc:sldMkLst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4" creationId="{92274950-4B6C-E377-05E8-40CFF016237D}"/>
          </ac:spMkLst>
        </pc:spChg>
        <pc:spChg chg="mod topLvl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10" creationId="{F138DB48-8D26-EE9F-C159-D38C78BA94BB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12" creationId="{E5ABC21A-8FA3-5893-F2EE-B4EFE0F4B509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16" creationId="{1CC40453-ADE6-CFAD-2243-040FEE9BDB97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19" creationId="{E6A0ABD2-A0EA-B02B-BBEA-7BBE42153708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20" creationId="{255F3863-A5DE-774A-C7C2-464F4C4ECA0F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22" creationId="{C8E6FA15-115D-6625-F13F-AE5C98636E36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23" creationId="{209141E3-8D4F-0C55-B703-383AE7B240F1}"/>
          </ac:spMkLst>
        </pc:spChg>
        <pc:spChg chg="mod">
          <ac:chgData name="Miraj Sinya" userId="a6e95797-5893-4261-9f10-8f81f198df75" providerId="ADAL" clId="{8472ECB8-F9E0-4601-97F7-CD5843E52E4A}" dt="2023-04-20T00:59:51.514" v="1249" actId="207"/>
          <ac:spMkLst>
            <pc:docMk/>
            <pc:sldMk cId="2279341814" sldId="614"/>
            <ac:spMk id="26" creationId="{0D2DE8A7-BDA7-4ED2-1C6C-791E4E614C69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31" creationId="{F34F7A7E-43AE-30DD-1867-F687059496D9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32" creationId="{52582686-07E0-ABD1-1DD0-EED7B6E2E468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33" creationId="{74CDB31E-922D-31D7-FABF-875F781CC70B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35" creationId="{5A97D0B7-F9BE-069B-952E-D417E00043A4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37" creationId="{ACE2C794-F541-994E-3ED7-6AD35EC7FD7A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38" creationId="{1AF79E20-D698-73E8-5562-30F91D9535BA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39" creationId="{15BA1181-4B66-8CA6-3425-9770E8F201D7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66" creationId="{5F0EA7B8-78D8-D1B7-DEEC-D20BD0B900F1}"/>
          </ac:spMkLst>
        </pc:spChg>
        <pc:spChg chg="mod">
          <ac:chgData name="Miraj Sinya" userId="a6e95797-5893-4261-9f10-8f81f198df75" providerId="ADAL" clId="{8472ECB8-F9E0-4601-97F7-CD5843E52E4A}" dt="2023-04-19T02:17:04.025" v="155" actId="1076"/>
          <ac:spMkLst>
            <pc:docMk/>
            <pc:sldMk cId="2279341814" sldId="614"/>
            <ac:spMk id="73" creationId="{3CA58EA0-07B7-4649-571A-DF9BBF854619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87" creationId="{D6B714E4-E1F9-3762-237B-78ADF32CD299}"/>
          </ac:spMkLst>
        </pc:spChg>
        <pc:spChg chg="mod">
          <ac:chgData name="Miraj Sinya" userId="a6e95797-5893-4261-9f10-8f81f198df75" providerId="ADAL" clId="{8472ECB8-F9E0-4601-97F7-CD5843E52E4A}" dt="2023-04-18T22:38:35.696" v="5" actId="165"/>
          <ac:spMkLst>
            <pc:docMk/>
            <pc:sldMk cId="2279341814" sldId="614"/>
            <ac:spMk id="88" creationId="{2AFBA731-73C7-E96E-16DA-58BCCF46A2ED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91" creationId="{0772F04D-D09A-4238-9122-596715F2794F}"/>
          </ac:spMkLst>
        </pc:spChg>
        <pc:spChg chg="mod">
          <ac:chgData name="Miraj Sinya" userId="a6e95797-5893-4261-9f10-8f81f198df75" providerId="ADAL" clId="{8472ECB8-F9E0-4601-97F7-CD5843E52E4A}" dt="2023-04-19T02:17:36.426" v="158" actId="1076"/>
          <ac:spMkLst>
            <pc:docMk/>
            <pc:sldMk cId="2279341814" sldId="614"/>
            <ac:spMk id="92" creationId="{B295DEDD-BAAC-4774-F1F9-1BD179ABFA8A}"/>
          </ac:spMkLst>
        </pc:spChg>
        <pc:spChg chg="mod">
          <ac:chgData name="Miraj Sinya" userId="a6e95797-5893-4261-9f10-8f81f198df75" providerId="ADAL" clId="{8472ECB8-F9E0-4601-97F7-CD5843E52E4A}" dt="2023-04-20T00:59:51.514" v="1249" actId="207"/>
          <ac:spMkLst>
            <pc:docMk/>
            <pc:sldMk cId="2279341814" sldId="614"/>
            <ac:spMk id="100" creationId="{A698BE0B-B2CD-5B8D-4E14-2E7933625F98}"/>
          </ac:spMkLst>
        </pc:spChg>
        <pc:spChg chg="mod">
          <ac:chgData name="Miraj Sinya" userId="a6e95797-5893-4261-9f10-8f81f198df75" providerId="ADAL" clId="{8472ECB8-F9E0-4601-97F7-CD5843E52E4A}" dt="2023-04-20T00:59:51.514" v="1249" actId="207"/>
          <ac:spMkLst>
            <pc:docMk/>
            <pc:sldMk cId="2279341814" sldId="614"/>
            <ac:spMk id="105" creationId="{7E2E2026-11F3-7098-D46C-6B5ED8C4A21D}"/>
          </ac:spMkLst>
        </pc:spChg>
        <pc:spChg chg="mod">
          <ac:chgData name="Miraj Sinya" userId="a6e95797-5893-4261-9f10-8f81f198df75" providerId="ADAL" clId="{8472ECB8-F9E0-4601-97F7-CD5843E52E4A}" dt="2023-04-20T00:59:51.514" v="1249" actId="207"/>
          <ac:spMkLst>
            <pc:docMk/>
            <pc:sldMk cId="2279341814" sldId="614"/>
            <ac:spMk id="106" creationId="{12F47584-F8B0-207D-6B4A-73E0912BDECC}"/>
          </ac:spMkLst>
        </pc:spChg>
        <pc:grpChg chg="mod topLvl">
          <ac:chgData name="Miraj Sinya" userId="a6e95797-5893-4261-9f10-8f81f198df75" providerId="ADAL" clId="{8472ECB8-F9E0-4601-97F7-CD5843E52E4A}" dt="2023-04-20T00:59:51.514" v="1249" actId="207"/>
          <ac:grpSpMkLst>
            <pc:docMk/>
            <pc:sldMk cId="2279341814" sldId="614"/>
            <ac:grpSpMk id="5" creationId="{81113738-7887-60D0-7869-447675CFC379}"/>
          </ac:grpSpMkLst>
        </pc:grpChg>
        <pc:grpChg chg="mod topLvl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6" creationId="{7594CAD1-B92D-A7A2-97A9-A55A0F8A673A}"/>
          </ac:grpSpMkLst>
        </pc:grpChg>
        <pc:grpChg chg="mod topLvl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8" creationId="{BCD0128E-64CA-3C79-1D81-15ACC1FB88E1}"/>
          </ac:grpSpMkLst>
        </pc:grpChg>
        <pc:grpChg chg="add del mod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14" creationId="{561B50C7-FD4B-E67B-6A24-75349A1BB929}"/>
          </ac:grpSpMkLst>
        </pc:grpChg>
        <pc:grpChg chg="mod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18" creationId="{5A1C53FA-E3A2-A03E-86FD-C1E8F9C27646}"/>
          </ac:grpSpMkLst>
        </pc:grpChg>
        <pc:grpChg chg="mod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21" creationId="{908FD350-913D-B1EF-9D7C-39844DACAF50}"/>
          </ac:grpSpMkLst>
        </pc:grpChg>
        <pc:grpChg chg="mod topLvl">
          <ac:chgData name="Miraj Sinya" userId="a6e95797-5893-4261-9f10-8f81f198df75" providerId="ADAL" clId="{8472ECB8-F9E0-4601-97F7-CD5843E52E4A}" dt="2023-04-20T00:59:51.514" v="1249" actId="207"/>
          <ac:grpSpMkLst>
            <pc:docMk/>
            <pc:sldMk cId="2279341814" sldId="614"/>
            <ac:grpSpMk id="27" creationId="{78460C24-126A-398F-8C6A-1B3EF8F8FFD2}"/>
          </ac:grpSpMkLst>
        </pc:grpChg>
        <pc:grpChg chg="mod topLvl">
          <ac:chgData name="Miraj Sinya" userId="a6e95797-5893-4261-9f10-8f81f198df75" providerId="ADAL" clId="{8472ECB8-F9E0-4601-97F7-CD5843E52E4A}" dt="2023-04-19T02:16:31.983" v="151" actId="14100"/>
          <ac:grpSpMkLst>
            <pc:docMk/>
            <pc:sldMk cId="2279341814" sldId="614"/>
            <ac:grpSpMk id="29" creationId="{E3E17FB9-383B-FD05-337B-32138CB104AF}"/>
          </ac:grpSpMkLst>
        </pc:grpChg>
        <pc:grpChg chg="mod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30" creationId="{F059CEB1-A212-A79A-6A8F-176B4B6F4E1A}"/>
          </ac:grpSpMkLst>
        </pc:grpChg>
        <pc:grpChg chg="mod topLvl">
          <ac:chgData name="Miraj Sinya" userId="a6e95797-5893-4261-9f10-8f81f198df75" providerId="ADAL" clId="{8472ECB8-F9E0-4601-97F7-CD5843E52E4A}" dt="2023-04-19T02:17:36.426" v="158" actId="1076"/>
          <ac:grpSpMkLst>
            <pc:docMk/>
            <pc:sldMk cId="2279341814" sldId="614"/>
            <ac:grpSpMk id="34" creationId="{EE09477F-7F23-418A-65B6-AFB852825EA1}"/>
          </ac:grpSpMkLst>
        </pc:grpChg>
        <pc:grpChg chg="mod topLvl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49" creationId="{8E670011-07FB-B724-9E9F-68DA87416B7D}"/>
          </ac:grpSpMkLst>
        </pc:grpChg>
        <pc:grpChg chg="mod topLvl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75" creationId="{F685AFAC-BAE9-A032-CA2B-E35EC658CEA9}"/>
          </ac:grpSpMkLst>
        </pc:grpChg>
        <pc:grpChg chg="mod">
          <ac:chgData name="Miraj Sinya" userId="a6e95797-5893-4261-9f10-8f81f198df75" providerId="ADAL" clId="{8472ECB8-F9E0-4601-97F7-CD5843E52E4A}" dt="2023-04-18T22:38:35.696" v="5" actId="165"/>
          <ac:grpSpMkLst>
            <pc:docMk/>
            <pc:sldMk cId="2279341814" sldId="614"/>
            <ac:grpSpMk id="86" creationId="{DF8B24CF-92A8-300A-D37A-9E4275E1CECE}"/>
          </ac:grpSpMkLst>
        </pc:grpChg>
        <pc:grpChg chg="mod">
          <ac:chgData name="Miraj Sinya" userId="a6e95797-5893-4261-9f10-8f81f198df75" providerId="ADAL" clId="{8472ECB8-F9E0-4601-97F7-CD5843E52E4A}" dt="2023-04-19T02:17:36.426" v="158" actId="1076"/>
          <ac:grpSpMkLst>
            <pc:docMk/>
            <pc:sldMk cId="2279341814" sldId="614"/>
            <ac:grpSpMk id="89" creationId="{F8BB3386-DB23-EB1F-358C-ACAB59E6EFC6}"/>
          </ac:grpSpMkLst>
        </pc:grpChg>
        <pc:grpChg chg="mod">
          <ac:chgData name="Miraj Sinya" userId="a6e95797-5893-4261-9f10-8f81f198df75" providerId="ADAL" clId="{8472ECB8-F9E0-4601-97F7-CD5843E52E4A}" dt="2023-04-19T02:17:36.426" v="158" actId="1076"/>
          <ac:grpSpMkLst>
            <pc:docMk/>
            <pc:sldMk cId="2279341814" sldId="614"/>
            <ac:grpSpMk id="90" creationId="{DA9F843F-9F7C-A830-D1ED-67E3EF1803C4}"/>
          </ac:grpSpMkLst>
        </pc:grpChg>
        <pc:grpChg chg="mod">
          <ac:chgData name="Miraj Sinya" userId="a6e95797-5893-4261-9f10-8f81f198df75" providerId="ADAL" clId="{8472ECB8-F9E0-4601-97F7-CD5843E52E4A}" dt="2023-04-19T02:17:36.426" v="158" actId="1076"/>
          <ac:grpSpMkLst>
            <pc:docMk/>
            <pc:sldMk cId="2279341814" sldId="614"/>
            <ac:grpSpMk id="94" creationId="{DC8D437B-877B-83C6-BAB2-FD6E660D29AE}"/>
          </ac:grpSpMkLst>
        </pc:grpChg>
        <pc:cxnChg chg="mod topLvl">
          <ac:chgData name="Miraj Sinya" userId="a6e95797-5893-4261-9f10-8f81f198df75" providerId="ADAL" clId="{8472ECB8-F9E0-4601-97F7-CD5843E52E4A}" dt="2023-04-19T02:16:42.521" v="153" actId="14100"/>
          <ac:cxnSpMkLst>
            <pc:docMk/>
            <pc:sldMk cId="2279341814" sldId="614"/>
            <ac:cxnSpMk id="7" creationId="{ED982B0C-220B-D0FF-E3D5-B9211F8B46A0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11" creationId="{59CCCB6D-E1B6-FD20-C76C-03A3D9CE576A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13" creationId="{768340C0-438A-B3CB-C351-78AB4D526442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24" creationId="{06B53DBA-9D95-7BB2-0E1D-C2D1184E20BC}"/>
          </ac:cxnSpMkLst>
        </pc:cxnChg>
        <pc:cxnChg chg="mod">
          <ac:chgData name="Miraj Sinya" userId="a6e95797-5893-4261-9f10-8f81f198df75" providerId="ADAL" clId="{8472ECB8-F9E0-4601-97F7-CD5843E52E4A}" dt="2023-04-19T02:17:36.426" v="158" actId="1076"/>
          <ac:cxnSpMkLst>
            <pc:docMk/>
            <pc:sldMk cId="2279341814" sldId="614"/>
            <ac:cxnSpMk id="25" creationId="{FAC6538B-89F4-1CB3-CB1B-49682996FDEC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43" creationId="{A6A5E955-0304-E77D-8693-0357AD4786F4}"/>
          </ac:cxnSpMkLst>
        </pc:cxnChg>
        <pc:cxnChg chg="mod">
          <ac:chgData name="Miraj Sinya" userId="a6e95797-5893-4261-9f10-8f81f198df75" providerId="ADAL" clId="{8472ECB8-F9E0-4601-97F7-CD5843E52E4A}" dt="2023-04-19T02:17:36.426" v="158" actId="1076"/>
          <ac:cxnSpMkLst>
            <pc:docMk/>
            <pc:sldMk cId="2279341814" sldId="614"/>
            <ac:cxnSpMk id="47" creationId="{89309A2F-53F5-5B90-7411-2A4AB17CE5D4}"/>
          </ac:cxnSpMkLst>
        </pc:cxnChg>
        <pc:cxnChg chg="mod topLvl">
          <ac:chgData name="Miraj Sinya" userId="a6e95797-5893-4261-9f10-8f81f198df75" providerId="ADAL" clId="{8472ECB8-F9E0-4601-97F7-CD5843E52E4A}" dt="2023-04-19T02:16:39.695" v="152" actId="14100"/>
          <ac:cxnSpMkLst>
            <pc:docMk/>
            <pc:sldMk cId="2279341814" sldId="614"/>
            <ac:cxnSpMk id="48" creationId="{96197FC9-4EEB-D3A1-332E-EBE0A62ADBB2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96" creationId="{5D14DEC2-8A8A-A670-9422-3A2C4F076FDA}"/>
          </ac:cxnSpMkLst>
        </pc:cxnChg>
        <pc:cxnChg chg="mod">
          <ac:chgData name="Miraj Sinya" userId="a6e95797-5893-4261-9f10-8f81f198df75" providerId="ADAL" clId="{8472ECB8-F9E0-4601-97F7-CD5843E52E4A}" dt="2023-04-18T22:38:35.696" v="5" actId="165"/>
          <ac:cxnSpMkLst>
            <pc:docMk/>
            <pc:sldMk cId="2279341814" sldId="614"/>
            <ac:cxnSpMk id="97" creationId="{CB286FAB-0DCC-858E-D06C-A2EC1EBC0914}"/>
          </ac:cxnSpMkLst>
        </pc:cxnChg>
        <pc:cxnChg chg="mod">
          <ac:chgData name="Miraj Sinya" userId="a6e95797-5893-4261-9f10-8f81f198df75" providerId="ADAL" clId="{8472ECB8-F9E0-4601-97F7-CD5843E52E4A}" dt="2023-04-19T02:17:36.426" v="158" actId="1076"/>
          <ac:cxnSpMkLst>
            <pc:docMk/>
            <pc:sldMk cId="2279341814" sldId="614"/>
            <ac:cxnSpMk id="99" creationId="{D4981105-C734-3272-C09E-A8F4B440B7F2}"/>
          </ac:cxnSpMkLst>
        </pc:cxnChg>
      </pc:sldChg>
      <pc:sldChg chg="addSp delSp modSp mod">
        <pc:chgData name="Miraj Sinya" userId="a6e95797-5893-4261-9f10-8f81f198df75" providerId="ADAL" clId="{8472ECB8-F9E0-4601-97F7-CD5843E52E4A}" dt="2023-04-20T00:35:48.547" v="1040" actId="208"/>
        <pc:sldMkLst>
          <pc:docMk/>
          <pc:sldMk cId="3226856182" sldId="618"/>
        </pc:sldMkLst>
        <pc:spChg chg="add mod">
          <ac:chgData name="Miraj Sinya" userId="a6e95797-5893-4261-9f10-8f81f198df75" providerId="ADAL" clId="{8472ECB8-F9E0-4601-97F7-CD5843E52E4A}" dt="2023-04-20T00:35:48.547" v="1040" actId="208"/>
          <ac:spMkLst>
            <pc:docMk/>
            <pc:sldMk cId="3226856182" sldId="618"/>
            <ac:spMk id="4" creationId="{781F5D65-5C52-FF4F-299B-A4DBB47A9152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6" creationId="{41D98DD2-69AF-FC0F-EE31-11EF2A104D2B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7" creationId="{061A4B7B-4CCB-2720-B21D-0565F1CC2DB8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17" creationId="{24246A2D-64B5-0CDD-D8BC-FDB7DB932EFE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18" creationId="{A3A122DC-37D8-095E-1CDC-E47346F1EDE7}"/>
          </ac:spMkLst>
        </pc:spChg>
        <pc:spChg chg="mod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21" creationId="{C9499847-F8DF-A119-DA3A-92ED3B09371E}"/>
          </ac:spMkLst>
        </pc:spChg>
        <pc:spChg chg="mod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24" creationId="{600981A4-1803-0ACC-3CB6-9B7E72CAFCF8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26" creationId="{50D07DD2-9DED-E138-AC29-E19972BE20A0}"/>
          </ac:spMkLst>
        </pc:spChg>
        <pc:spChg chg="mod topLvl">
          <ac:chgData name="Miraj Sinya" userId="a6e95797-5893-4261-9f10-8f81f198df75" providerId="ADAL" clId="{8472ECB8-F9E0-4601-97F7-CD5843E52E4A}" dt="2023-04-18T22:42:21.059" v="30" actId="165"/>
          <ac:spMkLst>
            <pc:docMk/>
            <pc:sldMk cId="3226856182" sldId="618"/>
            <ac:spMk id="28" creationId="{B0F0538F-B7A6-CEAF-13A6-4A460028DB39}"/>
          </ac:spMkLst>
        </pc:spChg>
        <pc:spChg chg="mod">
          <ac:chgData name="Miraj Sinya" userId="a6e95797-5893-4261-9f10-8f81f198df75" providerId="ADAL" clId="{8472ECB8-F9E0-4601-97F7-CD5843E52E4A}" dt="2023-04-19T02:45:01.124" v="211" actId="113"/>
          <ac:spMkLst>
            <pc:docMk/>
            <pc:sldMk cId="3226856182" sldId="618"/>
            <ac:spMk id="41" creationId="{1B9A024A-9A36-8CF6-43A2-5D44C0027D3F}"/>
          </ac:spMkLst>
        </pc:spChg>
        <pc:spChg chg="mod">
          <ac:chgData name="Miraj Sinya" userId="a6e95797-5893-4261-9f10-8f81f198df75" providerId="ADAL" clId="{8472ECB8-F9E0-4601-97F7-CD5843E52E4A}" dt="2023-04-19T02:43:11.175" v="192" actId="207"/>
          <ac:spMkLst>
            <pc:docMk/>
            <pc:sldMk cId="3226856182" sldId="618"/>
            <ac:spMk id="45" creationId="{1A001202-3B3F-5C5C-DBC0-974A06BC891A}"/>
          </ac:spMkLst>
        </pc:spChg>
        <pc:grpChg chg="add del mod">
          <ac:chgData name="Miraj Sinya" userId="a6e95797-5893-4261-9f10-8f81f198df75" providerId="ADAL" clId="{8472ECB8-F9E0-4601-97F7-CD5843E52E4A}" dt="2023-04-18T22:42:21.059" v="30" actId="165"/>
          <ac:grpSpMkLst>
            <pc:docMk/>
            <pc:sldMk cId="3226856182" sldId="618"/>
            <ac:grpSpMk id="3" creationId="{0E3DFAD2-9F12-FBF9-3973-E5DB29620545}"/>
          </ac:grpSpMkLst>
        </pc:grpChg>
        <pc:grpChg chg="mod topLvl">
          <ac:chgData name="Miraj Sinya" userId="a6e95797-5893-4261-9f10-8f81f198df75" providerId="ADAL" clId="{8472ECB8-F9E0-4601-97F7-CD5843E52E4A}" dt="2023-04-19T03:14:18.788" v="382" actId="1076"/>
          <ac:grpSpMkLst>
            <pc:docMk/>
            <pc:sldMk cId="3226856182" sldId="618"/>
            <ac:grpSpMk id="20" creationId="{6B2346EF-EC9B-6F69-6F99-F7D10D4C2203}"/>
          </ac:grpSpMkLst>
        </pc:grpChg>
        <pc:grpChg chg="mod topLvl">
          <ac:chgData name="Miraj Sinya" userId="a6e95797-5893-4261-9f10-8f81f198df75" providerId="ADAL" clId="{8472ECB8-F9E0-4601-97F7-CD5843E52E4A}" dt="2023-04-18T22:42:21.059" v="30" actId="165"/>
          <ac:grpSpMkLst>
            <pc:docMk/>
            <pc:sldMk cId="3226856182" sldId="618"/>
            <ac:grpSpMk id="23" creationId="{B5A6B671-3D95-2E85-FB81-F1D75852F38E}"/>
          </ac:grpSpMkLst>
        </pc:grpChg>
        <pc:grpChg chg="mod topLvl">
          <ac:chgData name="Miraj Sinya" userId="a6e95797-5893-4261-9f10-8f81f198df75" providerId="ADAL" clId="{8472ECB8-F9E0-4601-97F7-CD5843E52E4A}" dt="2023-04-19T02:44:00.464" v="195" actId="14100"/>
          <ac:grpSpMkLst>
            <pc:docMk/>
            <pc:sldMk cId="3226856182" sldId="618"/>
            <ac:grpSpMk id="49" creationId="{28A721B3-038B-C041-2C26-68C07795009F}"/>
          </ac:grpSpMkLst>
        </pc:grpChg>
        <pc:picChg chg="add mod">
          <ac:chgData name="Miraj Sinya" userId="a6e95797-5893-4261-9f10-8f81f198df75" providerId="ADAL" clId="{8472ECB8-F9E0-4601-97F7-CD5843E52E4A}" dt="2023-04-19T03:14:40.421" v="384" actId="1076"/>
          <ac:picMkLst>
            <pc:docMk/>
            <pc:sldMk cId="3226856182" sldId="618"/>
            <ac:picMk id="9" creationId="{C9F94FD8-7F77-C7A2-38A2-6278D573B46C}"/>
          </ac:picMkLst>
        </pc:picChg>
        <pc:cxnChg chg="mod topLvl">
          <ac:chgData name="Miraj Sinya" userId="a6e95797-5893-4261-9f10-8f81f198df75" providerId="ADAL" clId="{8472ECB8-F9E0-4601-97F7-CD5843E52E4A}" dt="2023-04-18T22:42:21.059" v="30" actId="165"/>
          <ac:cxnSpMkLst>
            <pc:docMk/>
            <pc:sldMk cId="3226856182" sldId="618"/>
            <ac:cxnSpMk id="8" creationId="{5F1EDBD6-645F-FB53-93D5-D93B5FCA9444}"/>
          </ac:cxnSpMkLst>
        </pc:cxnChg>
        <pc:cxnChg chg="mod">
          <ac:chgData name="Miraj Sinya" userId="a6e95797-5893-4261-9f10-8f81f198df75" providerId="ADAL" clId="{8472ECB8-F9E0-4601-97F7-CD5843E52E4A}" dt="2023-04-18T22:42:21.059" v="30" actId="165"/>
          <ac:cxnSpMkLst>
            <pc:docMk/>
            <pc:sldMk cId="3226856182" sldId="618"/>
            <ac:cxnSpMk id="22" creationId="{327B5C27-BA4E-40ED-284A-ABF5444EE0AA}"/>
          </ac:cxnSpMkLst>
        </pc:cxnChg>
        <pc:cxnChg chg="mod">
          <ac:chgData name="Miraj Sinya" userId="a6e95797-5893-4261-9f10-8f81f198df75" providerId="ADAL" clId="{8472ECB8-F9E0-4601-97F7-CD5843E52E4A}" dt="2023-04-18T22:42:21.059" v="30" actId="165"/>
          <ac:cxnSpMkLst>
            <pc:docMk/>
            <pc:sldMk cId="3226856182" sldId="618"/>
            <ac:cxnSpMk id="25" creationId="{4E4DE28F-82BA-51E8-7CF2-E2C191552C10}"/>
          </ac:cxnSpMkLst>
        </pc:cxnChg>
        <pc:cxnChg chg="mod topLvl">
          <ac:chgData name="Miraj Sinya" userId="a6e95797-5893-4261-9f10-8f81f198df75" providerId="ADAL" clId="{8472ECB8-F9E0-4601-97F7-CD5843E52E4A}" dt="2023-04-18T22:42:21.059" v="30" actId="165"/>
          <ac:cxnSpMkLst>
            <pc:docMk/>
            <pc:sldMk cId="3226856182" sldId="618"/>
            <ac:cxnSpMk id="47" creationId="{D8281D10-0321-8350-6E42-C0AA9A2DE1CB}"/>
          </ac:cxnSpMkLst>
        </pc:cxnChg>
      </pc:sldChg>
      <pc:sldChg chg="addSp delSp modSp mod">
        <pc:chgData name="Miraj Sinya" userId="a6e95797-5893-4261-9f10-8f81f198df75" providerId="ADAL" clId="{8472ECB8-F9E0-4601-97F7-CD5843E52E4A}" dt="2023-04-18T22:41:18.677" v="18" actId="165"/>
        <pc:sldMkLst>
          <pc:docMk/>
          <pc:sldMk cId="2252611571" sldId="619"/>
        </pc:sldMkLst>
        <pc:grpChg chg="add del mod">
          <ac:chgData name="Miraj Sinya" userId="a6e95797-5893-4261-9f10-8f81f198df75" providerId="ADAL" clId="{8472ECB8-F9E0-4601-97F7-CD5843E52E4A}" dt="2023-04-18T22:41:18.677" v="18" actId="165"/>
          <ac:grpSpMkLst>
            <pc:docMk/>
            <pc:sldMk cId="2252611571" sldId="619"/>
            <ac:grpSpMk id="3" creationId="{A180152C-3A45-16B9-03AD-E49798198663}"/>
          </ac:grpSpMkLst>
        </pc:grpChg>
        <pc:picChg chg="mod topLvl">
          <ac:chgData name="Miraj Sinya" userId="a6e95797-5893-4261-9f10-8f81f198df75" providerId="ADAL" clId="{8472ECB8-F9E0-4601-97F7-CD5843E52E4A}" dt="2023-04-18T22:41:18.677" v="18" actId="165"/>
          <ac:picMkLst>
            <pc:docMk/>
            <pc:sldMk cId="2252611571" sldId="619"/>
            <ac:picMk id="4" creationId="{1A51478D-C4BF-9F30-7A65-08DB79263C9E}"/>
          </ac:picMkLst>
        </pc:picChg>
        <pc:picChg chg="mod topLvl">
          <ac:chgData name="Miraj Sinya" userId="a6e95797-5893-4261-9f10-8f81f198df75" providerId="ADAL" clId="{8472ECB8-F9E0-4601-97F7-CD5843E52E4A}" dt="2023-04-18T22:41:18.677" v="18" actId="165"/>
          <ac:picMkLst>
            <pc:docMk/>
            <pc:sldMk cId="2252611571" sldId="619"/>
            <ac:picMk id="5" creationId="{2BDC6266-188A-7FEF-2F35-D2799FFB43AD}"/>
          </ac:picMkLst>
        </pc:picChg>
        <pc:picChg chg="mod topLvl">
          <ac:chgData name="Miraj Sinya" userId="a6e95797-5893-4261-9f10-8f81f198df75" providerId="ADAL" clId="{8472ECB8-F9E0-4601-97F7-CD5843E52E4A}" dt="2023-04-18T22:41:18.677" v="18" actId="165"/>
          <ac:picMkLst>
            <pc:docMk/>
            <pc:sldMk cId="2252611571" sldId="619"/>
            <ac:picMk id="8" creationId="{63630677-D644-8C9D-7227-A6F64217234A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1:04.623" v="15" actId="165"/>
        <pc:sldMkLst>
          <pc:docMk/>
          <pc:sldMk cId="286777989" sldId="623"/>
        </pc:sldMkLst>
        <pc:spChg chg="mod topLvl">
          <ac:chgData name="Miraj Sinya" userId="a6e95797-5893-4261-9f10-8f81f198df75" providerId="ADAL" clId="{8472ECB8-F9E0-4601-97F7-CD5843E52E4A}" dt="2023-04-18T22:41:04.623" v="15" actId="165"/>
          <ac:spMkLst>
            <pc:docMk/>
            <pc:sldMk cId="286777989" sldId="623"/>
            <ac:spMk id="3" creationId="{2B2CE90A-BD29-70C8-E2AE-6E44589214C7}"/>
          </ac:spMkLst>
        </pc:spChg>
        <pc:grpChg chg="add del mod">
          <ac:chgData name="Miraj Sinya" userId="a6e95797-5893-4261-9f10-8f81f198df75" providerId="ADAL" clId="{8472ECB8-F9E0-4601-97F7-CD5843E52E4A}" dt="2023-04-18T22:41:04.623" v="15" actId="165"/>
          <ac:grpSpMkLst>
            <pc:docMk/>
            <pc:sldMk cId="286777989" sldId="623"/>
            <ac:grpSpMk id="4" creationId="{3A1A3C1F-523A-D9D7-895F-3DB4CDBEA537}"/>
          </ac:grpSpMkLst>
        </pc:grpChg>
        <pc:picChg chg="mod topLvl">
          <ac:chgData name="Miraj Sinya" userId="a6e95797-5893-4261-9f10-8f81f198df75" providerId="ADAL" clId="{8472ECB8-F9E0-4601-97F7-CD5843E52E4A}" dt="2023-04-18T22:41:04.623" v="15" actId="165"/>
          <ac:picMkLst>
            <pc:docMk/>
            <pc:sldMk cId="286777989" sldId="623"/>
            <ac:picMk id="6" creationId="{E3317AF8-BFC6-38C2-435B-0CE2C36A4A85}"/>
          </ac:picMkLst>
        </pc:picChg>
        <pc:picChg chg="mod topLvl">
          <ac:chgData name="Miraj Sinya" userId="a6e95797-5893-4261-9f10-8f81f198df75" providerId="ADAL" clId="{8472ECB8-F9E0-4601-97F7-CD5843E52E4A}" dt="2023-04-18T22:41:04.623" v="15" actId="165"/>
          <ac:picMkLst>
            <pc:docMk/>
            <pc:sldMk cId="286777989" sldId="623"/>
            <ac:picMk id="13" creationId="{8AF0771D-7053-699A-D742-67B9583D799A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3:31.050" v="38" actId="21"/>
        <pc:sldMkLst>
          <pc:docMk/>
          <pc:sldMk cId="4028579692" sldId="624"/>
        </pc:sldMkLst>
        <pc:spChg chg="add del mod">
          <ac:chgData name="Miraj Sinya" userId="a6e95797-5893-4261-9f10-8f81f198df75" providerId="ADAL" clId="{8472ECB8-F9E0-4601-97F7-CD5843E52E4A}" dt="2023-04-18T22:43:31.050" v="38" actId="21"/>
          <ac:spMkLst>
            <pc:docMk/>
            <pc:sldMk cId="4028579692" sldId="624"/>
            <ac:spMk id="4" creationId="{A3C090C4-025E-A166-8AE7-8108AA988C2C}"/>
          </ac:spMkLst>
        </pc:spChg>
        <pc:picChg chg="mod">
          <ac:chgData name="Miraj Sinya" userId="a6e95797-5893-4261-9f10-8f81f198df75" providerId="ADAL" clId="{8472ECB8-F9E0-4601-97F7-CD5843E52E4A}" dt="2023-04-18T22:42:35.358" v="33" actId="465"/>
          <ac:picMkLst>
            <pc:docMk/>
            <pc:sldMk cId="4028579692" sldId="624"/>
            <ac:picMk id="3" creationId="{30B36639-A1FB-DDFE-3EA5-17C260C09072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4:56.933" v="64" actId="478"/>
        <pc:sldMkLst>
          <pc:docMk/>
          <pc:sldMk cId="1739270523" sldId="625"/>
        </pc:sldMkLst>
        <pc:spChg chg="add del mod ord">
          <ac:chgData name="Miraj Sinya" userId="a6e95797-5893-4261-9f10-8f81f198df75" providerId="ADAL" clId="{8472ECB8-F9E0-4601-97F7-CD5843E52E4A}" dt="2023-04-18T22:44:56.933" v="64" actId="478"/>
          <ac:spMkLst>
            <pc:docMk/>
            <pc:sldMk cId="1739270523" sldId="625"/>
            <ac:spMk id="3" creationId="{3E3E2AC3-0693-BB81-D130-057A48AABDBE}"/>
          </ac:spMkLst>
        </pc:spChg>
        <pc:picChg chg="add del mod ord">
          <ac:chgData name="Miraj Sinya" userId="a6e95797-5893-4261-9f10-8f81f198df75" providerId="ADAL" clId="{8472ECB8-F9E0-4601-97F7-CD5843E52E4A}" dt="2023-04-18T22:44:55.415" v="63" actId="478"/>
          <ac:picMkLst>
            <pc:docMk/>
            <pc:sldMk cId="1739270523" sldId="625"/>
            <ac:picMk id="4" creationId="{7D78FBF2-7B08-E2C1-7C6A-002062DDC084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3:57.217" v="47" actId="21"/>
        <pc:sldMkLst>
          <pc:docMk/>
          <pc:sldMk cId="810073572" sldId="626"/>
        </pc:sldMkLst>
        <pc:spChg chg="add del mod ord">
          <ac:chgData name="Miraj Sinya" userId="a6e95797-5893-4261-9f10-8f81f198df75" providerId="ADAL" clId="{8472ECB8-F9E0-4601-97F7-CD5843E52E4A}" dt="2023-04-18T22:43:57.217" v="47" actId="21"/>
          <ac:spMkLst>
            <pc:docMk/>
            <pc:sldMk cId="810073572" sldId="626"/>
            <ac:spMk id="3" creationId="{BAC552F2-EFEE-E90C-9DC5-0FAF4867FF27}"/>
          </ac:spMkLst>
        </pc:spChg>
        <pc:picChg chg="mod ord">
          <ac:chgData name="Miraj Sinya" userId="a6e95797-5893-4261-9f10-8f81f198df75" providerId="ADAL" clId="{8472ECB8-F9E0-4601-97F7-CD5843E52E4A}" dt="2023-04-18T22:43:55.630" v="46" actId="167"/>
          <ac:picMkLst>
            <pc:docMk/>
            <pc:sldMk cId="810073572" sldId="626"/>
            <ac:picMk id="4" creationId="{29AD41B9-C968-BDFA-23FA-59020ADB9974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5:16.326" v="66" actId="408"/>
        <pc:sldMkLst>
          <pc:docMk/>
          <pc:sldMk cId="3790078528" sldId="627"/>
        </pc:sldMkLst>
        <pc:spChg chg="add del mod ord">
          <ac:chgData name="Miraj Sinya" userId="a6e95797-5893-4261-9f10-8f81f198df75" providerId="ADAL" clId="{8472ECB8-F9E0-4601-97F7-CD5843E52E4A}" dt="2023-04-18T22:44:15.228" v="54" actId="21"/>
          <ac:spMkLst>
            <pc:docMk/>
            <pc:sldMk cId="3790078528" sldId="627"/>
            <ac:spMk id="3" creationId="{92815F59-FB5A-93C4-C79E-1B34AC2A9DE4}"/>
          </ac:spMkLst>
        </pc:spChg>
        <pc:picChg chg="mod ord">
          <ac:chgData name="Miraj Sinya" userId="a6e95797-5893-4261-9f10-8f81f198df75" providerId="ADAL" clId="{8472ECB8-F9E0-4601-97F7-CD5843E52E4A}" dt="2023-04-18T22:45:16.326" v="66" actId="408"/>
          <ac:picMkLst>
            <pc:docMk/>
            <pc:sldMk cId="3790078528" sldId="627"/>
            <ac:picMk id="4" creationId="{D019943F-187F-1430-E8C3-F8DEE94859AB}"/>
          </ac:picMkLst>
        </pc:picChg>
      </pc:sldChg>
      <pc:sldChg chg="addSp delSp modSp mod">
        <pc:chgData name="Miraj Sinya" userId="a6e95797-5893-4261-9f10-8f81f198df75" providerId="ADAL" clId="{8472ECB8-F9E0-4601-97F7-CD5843E52E4A}" dt="2023-04-20T00:42:14.667" v="1167" actId="14100"/>
        <pc:sldMkLst>
          <pc:docMk/>
          <pc:sldMk cId="3789486591" sldId="633"/>
        </pc:sldMkLst>
        <pc:spChg chg="add mod">
          <ac:chgData name="Miraj Sinya" userId="a6e95797-5893-4261-9f10-8f81f198df75" providerId="ADAL" clId="{8472ECB8-F9E0-4601-97F7-CD5843E52E4A}" dt="2023-04-20T00:41:22.504" v="1133" actId="164"/>
          <ac:spMkLst>
            <pc:docMk/>
            <pc:sldMk cId="3789486591" sldId="633"/>
            <ac:spMk id="3" creationId="{F86233AC-AA9D-395A-437A-7A51F9F152E1}"/>
          </ac:spMkLst>
        </pc:spChg>
        <pc:spChg chg="mod topLvl">
          <ac:chgData name="Miraj Sinya" userId="a6e95797-5893-4261-9f10-8f81f198df75" providerId="ADAL" clId="{8472ECB8-F9E0-4601-97F7-CD5843E52E4A}" dt="2023-04-20T00:41:47.323" v="1166" actId="14100"/>
          <ac:spMkLst>
            <pc:docMk/>
            <pc:sldMk cId="3789486591" sldId="633"/>
            <ac:spMk id="5" creationId="{427CA274-EE04-575B-2532-8E30634CB6AA}"/>
          </ac:spMkLst>
        </pc:spChg>
        <pc:spChg chg="add mod">
          <ac:chgData name="Miraj Sinya" userId="a6e95797-5893-4261-9f10-8f81f198df75" providerId="ADAL" clId="{8472ECB8-F9E0-4601-97F7-CD5843E52E4A}" dt="2023-04-20T00:41:22.504" v="1133" actId="164"/>
          <ac:spMkLst>
            <pc:docMk/>
            <pc:sldMk cId="3789486591" sldId="633"/>
            <ac:spMk id="6" creationId="{8281DFA7-C054-C153-9D89-C3D08F723456}"/>
          </ac:spMkLst>
        </pc:spChg>
        <pc:spChg chg="mod topLvl">
          <ac:chgData name="Miraj Sinya" userId="a6e95797-5893-4261-9f10-8f81f198df75" providerId="ADAL" clId="{8472ECB8-F9E0-4601-97F7-CD5843E52E4A}" dt="2023-04-18T22:41:27.092" v="21" actId="165"/>
          <ac:spMkLst>
            <pc:docMk/>
            <pc:sldMk cId="3789486591" sldId="633"/>
            <ac:spMk id="7" creationId="{8A3359AE-AA5B-CBC7-69D2-311119A800FA}"/>
          </ac:spMkLst>
        </pc:spChg>
        <pc:spChg chg="add del mod">
          <ac:chgData name="Miraj Sinya" userId="a6e95797-5893-4261-9f10-8f81f198df75" providerId="ADAL" clId="{8472ECB8-F9E0-4601-97F7-CD5843E52E4A}" dt="2023-04-20T00:39:09.635" v="1076" actId="478"/>
          <ac:spMkLst>
            <pc:docMk/>
            <pc:sldMk cId="3789486591" sldId="633"/>
            <ac:spMk id="8" creationId="{46DE3591-48DE-0896-1971-10507C874DBB}"/>
          </ac:spMkLst>
        </pc:spChg>
        <pc:spChg chg="add del mod">
          <ac:chgData name="Miraj Sinya" userId="a6e95797-5893-4261-9f10-8f81f198df75" providerId="ADAL" clId="{8472ECB8-F9E0-4601-97F7-CD5843E52E4A}" dt="2023-04-20T00:39:09.635" v="1076" actId="478"/>
          <ac:spMkLst>
            <pc:docMk/>
            <pc:sldMk cId="3789486591" sldId="633"/>
            <ac:spMk id="9" creationId="{FEA8D2A3-87E5-1F2D-377B-1F75DBA2E2A3}"/>
          </ac:spMkLst>
        </pc:spChg>
        <pc:spChg chg="add mod">
          <ac:chgData name="Miraj Sinya" userId="a6e95797-5893-4261-9f10-8f81f198df75" providerId="ADAL" clId="{8472ECB8-F9E0-4601-97F7-CD5843E52E4A}" dt="2023-04-20T00:40:35.132" v="1122" actId="164"/>
          <ac:spMkLst>
            <pc:docMk/>
            <pc:sldMk cId="3789486591" sldId="633"/>
            <ac:spMk id="10" creationId="{18B548BE-CE88-D9C2-747B-05A0B893B015}"/>
          </ac:spMkLst>
        </pc:spChg>
        <pc:spChg chg="add mod">
          <ac:chgData name="Miraj Sinya" userId="a6e95797-5893-4261-9f10-8f81f198df75" providerId="ADAL" clId="{8472ECB8-F9E0-4601-97F7-CD5843E52E4A}" dt="2023-04-20T00:40:35.132" v="1122" actId="164"/>
          <ac:spMkLst>
            <pc:docMk/>
            <pc:sldMk cId="3789486591" sldId="633"/>
            <ac:spMk id="12" creationId="{F2CFDDD0-0A00-FD34-5CC1-ACB57D8D49F2}"/>
          </ac:spMkLst>
        </pc:spChg>
        <pc:grpChg chg="add del mod">
          <ac:chgData name="Miraj Sinya" userId="a6e95797-5893-4261-9f10-8f81f198df75" providerId="ADAL" clId="{8472ECB8-F9E0-4601-97F7-CD5843E52E4A}" dt="2023-04-18T22:41:27.092" v="21" actId="165"/>
          <ac:grpSpMkLst>
            <pc:docMk/>
            <pc:sldMk cId="3789486591" sldId="633"/>
            <ac:grpSpMk id="3" creationId="{80765799-6A89-AB95-8C41-0A8FC267D3F6}"/>
          </ac:grpSpMkLst>
        </pc:grpChg>
        <pc:grpChg chg="add mod">
          <ac:chgData name="Miraj Sinya" userId="a6e95797-5893-4261-9f10-8f81f198df75" providerId="ADAL" clId="{8472ECB8-F9E0-4601-97F7-CD5843E52E4A}" dt="2023-04-20T00:42:14.667" v="1167" actId="14100"/>
          <ac:grpSpMkLst>
            <pc:docMk/>
            <pc:sldMk cId="3789486591" sldId="633"/>
            <ac:grpSpMk id="13" creationId="{89C96075-D37A-4B4F-D3BE-4EC9571DFEC4}"/>
          </ac:grpSpMkLst>
        </pc:grpChg>
        <pc:grpChg chg="add mod">
          <ac:chgData name="Miraj Sinya" userId="a6e95797-5893-4261-9f10-8f81f198df75" providerId="ADAL" clId="{8472ECB8-F9E0-4601-97F7-CD5843E52E4A}" dt="2023-04-20T00:41:26.682" v="1138" actId="1036"/>
          <ac:grpSpMkLst>
            <pc:docMk/>
            <pc:sldMk cId="3789486591" sldId="633"/>
            <ac:grpSpMk id="14" creationId="{4386B90B-3781-FAD8-9627-8BD967AFD0D2}"/>
          </ac:grpSpMkLst>
        </pc:grpChg>
        <pc:picChg chg="mod topLvl">
          <ac:chgData name="Miraj Sinya" userId="a6e95797-5893-4261-9f10-8f81f198df75" providerId="ADAL" clId="{8472ECB8-F9E0-4601-97F7-CD5843E52E4A}" dt="2023-04-20T00:41:22.504" v="1133" actId="164"/>
          <ac:picMkLst>
            <pc:docMk/>
            <pc:sldMk cId="3789486591" sldId="633"/>
            <ac:picMk id="4" creationId="{C09936F8-5086-199E-D661-E0B3D20BDD1B}"/>
          </ac:picMkLst>
        </pc:picChg>
        <pc:picChg chg="mod topLvl">
          <ac:chgData name="Miraj Sinya" userId="a6e95797-5893-4261-9f10-8f81f198df75" providerId="ADAL" clId="{8472ECB8-F9E0-4601-97F7-CD5843E52E4A}" dt="2023-04-20T00:40:35.132" v="1122" actId="164"/>
          <ac:picMkLst>
            <pc:docMk/>
            <pc:sldMk cId="3789486591" sldId="633"/>
            <ac:picMk id="11" creationId="{74C488DA-E7E2-AA6C-F26F-1D7E30CC557F}"/>
          </ac:picMkLst>
        </pc:picChg>
      </pc:sldChg>
      <pc:sldChg chg="addSp delSp modSp mod">
        <pc:chgData name="Miraj Sinya" userId="a6e95797-5893-4261-9f10-8f81f198df75" providerId="ADAL" clId="{8472ECB8-F9E0-4601-97F7-CD5843E52E4A}" dt="2023-04-18T22:41:56.805" v="27" actId="165"/>
        <pc:sldMkLst>
          <pc:docMk/>
          <pc:sldMk cId="3625445693" sldId="634"/>
        </pc:sldMkLst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7" creationId="{8947F3C5-E8C0-AE98-8A0E-2ABE3CDDEC26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8" creationId="{7910D3F3-FB8A-C2FD-2978-90C9C3767CAE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2" creationId="{FE7A8754-1D17-CAE0-CE0A-967A1EB9AFAF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3" creationId="{6960C97D-C254-5AED-AD73-3CEA2327AA91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4" creationId="{D8F8D58D-1E37-5616-F4E4-A3A1C455860A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6" creationId="{167C3EA3-64D3-8A95-6738-7A356990E4BB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7" creationId="{3E86B7E6-129E-B1E4-6FBC-909C171DD2BD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9" creationId="{1F541673-A766-D3D7-A666-A4C68D414F42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21" creationId="{C9499847-F8DF-A119-DA3A-92ED3B09371E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24" creationId="{600981A4-1803-0ACC-3CB6-9B7E72CAFCF8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28" creationId="{CD1998D9-39D8-74B3-2CB5-1043D636BE99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29" creationId="{CEA199FB-BF64-7F7E-E704-83F86E1A7D15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33" creationId="{09CAFEB9-A0B6-7277-E249-9ACC85A94229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34" creationId="{2A2F5F5B-5997-7030-7DE5-399B699D86C6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41" creationId="{40B8D283-F2D0-F051-5CA1-508CFF1ED3C8}"/>
          </ac:spMkLst>
        </pc:spChg>
        <pc:spChg chg="mod topLvl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46" creationId="{3C4EDFAB-2324-EFA4-C46B-BB5D80C56A9C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47" creationId="{BE40E30E-3402-27FC-0FC3-4472A794ECD1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48" creationId="{C86D0160-D75A-9325-2E67-A8460EBE39F6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95" creationId="{1A1BABD9-6395-3D6C-9F00-AA0356ECBFE5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96" creationId="{A1CFA37B-DB25-5AB7-49AE-98D2F9566E38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97" creationId="{3301A905-9CCC-9AC8-4D1F-962A409DDE99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98" creationId="{61F1DE77-45EC-910F-FA81-8F886FEBA9C4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05" creationId="{B749FBA3-56A9-A2D9-39AE-762A267D91B9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06" creationId="{9D5CA23A-ECAD-2151-9E2F-C7847612CFB1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08" creationId="{11DCEBA1-8932-EDB5-4FDB-33D262D68D64}"/>
          </ac:spMkLst>
        </pc:spChg>
        <pc:spChg chg="mod">
          <ac:chgData name="Miraj Sinya" userId="a6e95797-5893-4261-9f10-8f81f198df75" providerId="ADAL" clId="{8472ECB8-F9E0-4601-97F7-CD5843E52E4A}" dt="2023-04-18T22:41:56.805" v="27" actId="165"/>
          <ac:spMkLst>
            <pc:docMk/>
            <pc:sldMk cId="3625445693" sldId="634"/>
            <ac:spMk id="109" creationId="{D8D7BC75-5B08-7B21-CD55-EC33ACB3FFEE}"/>
          </ac:spMkLst>
        </pc:spChg>
        <pc:grpChg chg="add del mod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3" creationId="{72023AB3-7313-905F-143E-1DA64204ED09}"/>
          </ac:grpSpMkLst>
        </pc:grpChg>
        <pc:grpChg chg="mod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6" creationId="{02CB2490-7920-CECC-7F80-EA9F07B88123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20" creationId="{6B2346EF-EC9B-6F69-6F99-F7D10D4C2203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23" creationId="{B5A6B671-3D95-2E85-FB81-F1D75852F38E}"/>
          </ac:grpSpMkLst>
        </pc:grpChg>
        <pc:grpChg chg="mod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27" creationId="{1804B4BF-06A3-F7EA-CA5E-9248FECBDB34}"/>
          </ac:grpSpMkLst>
        </pc:grpChg>
        <pc:grpChg chg="mod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31" creationId="{E7AFB07A-3821-144B-543E-BDD376035F87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35" creationId="{F002708E-0DC1-E81F-AC65-C704796613EC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53" creationId="{A43EA5CD-42F6-0801-651E-401582094CBF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82" creationId="{FE1D9C3A-EA89-E00F-2215-08298B0AEED7}"/>
          </ac:grpSpMkLst>
        </pc:grpChg>
        <pc:grpChg chg="mod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107" creationId="{BD93B3B7-A65B-8533-E92A-05A885C0FDED}"/>
          </ac:grpSpMkLst>
        </pc:grpChg>
        <pc:grpChg chg="mod topLvl">
          <ac:chgData name="Miraj Sinya" userId="a6e95797-5893-4261-9f10-8f81f198df75" providerId="ADAL" clId="{8472ECB8-F9E0-4601-97F7-CD5843E52E4A}" dt="2023-04-18T22:41:56.805" v="27" actId="165"/>
          <ac:grpSpMkLst>
            <pc:docMk/>
            <pc:sldMk cId="3625445693" sldId="634"/>
            <ac:grpSpMk id="111" creationId="{4383CBC5-B21D-9EBC-1EE6-D715A945DDDC}"/>
          </ac:grpSpMkLst>
        </pc:grpChg>
        <pc:cxnChg chg="mod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9" creationId="{4271311E-FFE6-A05E-F3E4-230BE0F89088}"/>
          </ac:cxnSpMkLst>
        </pc:cxnChg>
        <pc:cxnChg chg="mod topLvl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15" creationId="{48B2C8EC-7BB0-6BE4-5058-F8275E640070}"/>
          </ac:cxnSpMkLst>
        </pc:cxnChg>
        <pc:cxnChg chg="mod topLvl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18" creationId="{133FE64F-9467-00A4-2DCB-DF4196653732}"/>
          </ac:cxnSpMkLst>
        </pc:cxnChg>
        <pc:cxnChg chg="mod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22" creationId="{327B5C27-BA4E-40ED-284A-ABF5444EE0AA}"/>
          </ac:cxnSpMkLst>
        </pc:cxnChg>
        <pc:cxnChg chg="mod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25" creationId="{4E4DE28F-82BA-51E8-7CF2-E2C191552C10}"/>
          </ac:cxnSpMkLst>
        </pc:cxnChg>
        <pc:cxnChg chg="mod topLvl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30" creationId="{92AC17DA-70B9-699E-80BB-BEBD087F89BB}"/>
          </ac:cxnSpMkLst>
        </pc:cxnChg>
        <pc:cxnChg chg="mod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32" creationId="{A3DA65BA-DA06-2846-C79C-975B58F34167}"/>
          </ac:cxnSpMkLst>
        </pc:cxnChg>
        <pc:cxnChg chg="mod topLvl">
          <ac:chgData name="Miraj Sinya" userId="a6e95797-5893-4261-9f10-8f81f198df75" providerId="ADAL" clId="{8472ECB8-F9E0-4601-97F7-CD5843E52E4A}" dt="2023-04-18T22:41:56.805" v="27" actId="165"/>
          <ac:cxnSpMkLst>
            <pc:docMk/>
            <pc:sldMk cId="3625445693" sldId="634"/>
            <ac:cxnSpMk id="103" creationId="{B02F9337-0D11-863F-1287-015E6AF32346}"/>
          </ac:cxnSpMkLst>
        </pc:cxnChg>
      </pc:sldChg>
      <pc:sldChg chg="addSp delSp modSp add del mod modShow">
        <pc:chgData name="Miraj Sinya" userId="a6e95797-5893-4261-9f10-8f81f198df75" providerId="ADAL" clId="{8472ECB8-F9E0-4601-97F7-CD5843E52E4A}" dt="2023-04-20T00:34:08.833" v="1038" actId="47"/>
        <pc:sldMkLst>
          <pc:docMk/>
          <pc:sldMk cId="3560507232" sldId="635"/>
        </pc:sldMkLst>
        <pc:spChg chg="mod">
          <ac:chgData name="Miraj Sinya" userId="a6e95797-5893-4261-9f10-8f81f198df75" providerId="ADAL" clId="{8472ECB8-F9E0-4601-97F7-CD5843E52E4A}" dt="2023-04-19T02:20:22.769" v="178"/>
          <ac:spMkLst>
            <pc:docMk/>
            <pc:sldMk cId="3560507232" sldId="635"/>
            <ac:spMk id="4" creationId="{B6388623-02E4-7E5B-14D5-692A5F506555}"/>
          </ac:spMkLst>
        </pc:spChg>
        <pc:spChg chg="mod">
          <ac:chgData name="Miraj Sinya" userId="a6e95797-5893-4261-9f10-8f81f198df75" providerId="ADAL" clId="{8472ECB8-F9E0-4601-97F7-CD5843E52E4A}" dt="2023-04-19T02:20:22.769" v="178"/>
          <ac:spMkLst>
            <pc:docMk/>
            <pc:sldMk cId="3560507232" sldId="635"/>
            <ac:spMk id="5" creationId="{FBABD992-4823-1511-EF03-79BA3EFC9D42}"/>
          </ac:spMkLst>
        </pc:spChg>
        <pc:spChg chg="mod">
          <ac:chgData name="Miraj Sinya" userId="a6e95797-5893-4261-9f10-8f81f198df75" providerId="ADAL" clId="{8472ECB8-F9E0-4601-97F7-CD5843E52E4A}" dt="2023-04-19T02:20:22.769" v="178"/>
          <ac:spMkLst>
            <pc:docMk/>
            <pc:sldMk cId="3560507232" sldId="635"/>
            <ac:spMk id="6" creationId="{8AD5E610-8A6D-2B43-DDAB-385C8621FF77}"/>
          </ac:spMkLst>
        </pc:spChg>
        <pc:spChg chg="mod">
          <ac:chgData name="Miraj Sinya" userId="a6e95797-5893-4261-9f10-8f81f198df75" providerId="ADAL" clId="{8472ECB8-F9E0-4601-97F7-CD5843E52E4A}" dt="2023-04-19T02:20:22.769" v="178"/>
          <ac:spMkLst>
            <pc:docMk/>
            <pc:sldMk cId="3560507232" sldId="635"/>
            <ac:spMk id="7" creationId="{7AF0DA61-48EF-1BC8-829B-A5E294AB627A}"/>
          </ac:spMkLst>
        </pc:spChg>
        <pc:spChg chg="mod ord topLvl">
          <ac:chgData name="Miraj Sinya" userId="a6e95797-5893-4261-9f10-8f81f198df75" providerId="ADAL" clId="{8472ECB8-F9E0-4601-97F7-CD5843E52E4A}" dt="2023-04-19T02:56:53.304" v="301" actId="1076"/>
          <ac:spMkLst>
            <pc:docMk/>
            <pc:sldMk cId="3560507232" sldId="635"/>
            <ac:spMk id="9" creationId="{E0214209-913B-A6AB-7377-9A8164FDC362}"/>
          </ac:spMkLst>
        </pc:spChg>
        <pc:spChg chg="mod topLvl">
          <ac:chgData name="Miraj Sinya" userId="a6e95797-5893-4261-9f10-8f81f198df75" providerId="ADAL" clId="{8472ECB8-F9E0-4601-97F7-CD5843E52E4A}" dt="2023-04-19T02:56:43.433" v="300" actId="1076"/>
          <ac:spMkLst>
            <pc:docMk/>
            <pc:sldMk cId="3560507232" sldId="635"/>
            <ac:spMk id="10" creationId="{B2DF9219-758F-0372-0188-ED9C50750D5E}"/>
          </ac:spMkLst>
        </pc:spChg>
        <pc:spChg chg="mod topLvl">
          <ac:chgData name="Miraj Sinya" userId="a6e95797-5893-4261-9f10-8f81f198df75" providerId="ADAL" clId="{8472ECB8-F9E0-4601-97F7-CD5843E52E4A}" dt="2023-04-19T02:57:08.196" v="306" actId="1076"/>
          <ac:spMkLst>
            <pc:docMk/>
            <pc:sldMk cId="3560507232" sldId="635"/>
            <ac:spMk id="11" creationId="{33EDBBE0-E7D4-1FBC-C23B-A9FE877C7D1C}"/>
          </ac:spMkLst>
        </pc:spChg>
        <pc:spChg chg="mod">
          <ac:chgData name="Miraj Sinya" userId="a6e95797-5893-4261-9f10-8f81f198df75" providerId="ADAL" clId="{8472ECB8-F9E0-4601-97F7-CD5843E52E4A}" dt="2023-04-19T03:08:21.153" v="367" actId="1076"/>
          <ac:spMkLst>
            <pc:docMk/>
            <pc:sldMk cId="3560507232" sldId="635"/>
            <ac:spMk id="12" creationId="{FE7A8754-1D17-CAE0-CE0A-967A1EB9AFAF}"/>
          </ac:spMkLst>
        </pc:spChg>
        <pc:spChg chg="mod">
          <ac:chgData name="Miraj Sinya" userId="a6e95797-5893-4261-9f10-8f81f198df75" providerId="ADAL" clId="{8472ECB8-F9E0-4601-97F7-CD5843E52E4A}" dt="2023-04-19T03:08:15.175" v="366" actId="465"/>
          <ac:spMkLst>
            <pc:docMk/>
            <pc:sldMk cId="3560507232" sldId="635"/>
            <ac:spMk id="13" creationId="{6960C97D-C254-5AED-AD73-3CEA2327AA91}"/>
          </ac:spMkLst>
        </pc:spChg>
        <pc:spChg chg="mod">
          <ac:chgData name="Miraj Sinya" userId="a6e95797-5893-4261-9f10-8f81f198df75" providerId="ADAL" clId="{8472ECB8-F9E0-4601-97F7-CD5843E52E4A}" dt="2023-04-19T03:08:09.965" v="365" actId="1076"/>
          <ac:spMkLst>
            <pc:docMk/>
            <pc:sldMk cId="3560507232" sldId="635"/>
            <ac:spMk id="14" creationId="{D8F8D58D-1E37-5616-F4E4-A3A1C455860A}"/>
          </ac:spMkLst>
        </pc:spChg>
        <pc:spChg chg="mod">
          <ac:chgData name="Miraj Sinya" userId="a6e95797-5893-4261-9f10-8f81f198df75" providerId="ADAL" clId="{8472ECB8-F9E0-4601-97F7-CD5843E52E4A}" dt="2023-04-19T03:08:24.420" v="368" actId="1076"/>
          <ac:spMkLst>
            <pc:docMk/>
            <pc:sldMk cId="3560507232" sldId="635"/>
            <ac:spMk id="16" creationId="{167C3EA3-64D3-8A95-6738-7A356990E4BB}"/>
          </ac:spMkLst>
        </pc:spChg>
        <pc:spChg chg="mod">
          <ac:chgData name="Miraj Sinya" userId="a6e95797-5893-4261-9f10-8f81f198df75" providerId="ADAL" clId="{8472ECB8-F9E0-4601-97F7-CD5843E52E4A}" dt="2023-04-19T03:06:48.599" v="344" actId="14100"/>
          <ac:spMkLst>
            <pc:docMk/>
            <pc:sldMk cId="3560507232" sldId="635"/>
            <ac:spMk id="17" creationId="{3E86B7E6-129E-B1E4-6FBC-909C171DD2BD}"/>
          </ac:spMkLst>
        </pc:spChg>
        <pc:spChg chg="mod">
          <ac:chgData name="Miraj Sinya" userId="a6e95797-5893-4261-9f10-8f81f198df75" providerId="ADAL" clId="{8472ECB8-F9E0-4601-97F7-CD5843E52E4A}" dt="2023-04-19T03:08:00.922" v="364" actId="20577"/>
          <ac:spMkLst>
            <pc:docMk/>
            <pc:sldMk cId="3560507232" sldId="635"/>
            <ac:spMk id="19" creationId="{1F541673-A766-D3D7-A666-A4C68D414F42}"/>
          </ac:spMkLst>
        </pc:spChg>
        <pc:spChg chg="del mod topLvl">
          <ac:chgData name="Miraj Sinya" userId="a6e95797-5893-4261-9f10-8f81f198df75" providerId="ADAL" clId="{8472ECB8-F9E0-4601-97F7-CD5843E52E4A}" dt="2023-04-19T02:51:45.170" v="265" actId="478"/>
          <ac:spMkLst>
            <pc:docMk/>
            <pc:sldMk cId="3560507232" sldId="635"/>
            <ac:spMk id="26" creationId="{A1203749-4AFE-CDF9-487F-EB8CA15401C1}"/>
          </ac:spMkLst>
        </pc:spChg>
        <pc:spChg chg="mod">
          <ac:chgData name="Miraj Sinya" userId="a6e95797-5893-4261-9f10-8f81f198df75" providerId="ADAL" clId="{8472ECB8-F9E0-4601-97F7-CD5843E52E4A}" dt="2023-04-19T03:22:12.697" v="451" actId="14100"/>
          <ac:spMkLst>
            <pc:docMk/>
            <pc:sldMk cId="3560507232" sldId="635"/>
            <ac:spMk id="28" creationId="{B1566E5E-678B-0F93-1CB5-E7988EB9F95B}"/>
          </ac:spMkLst>
        </pc:spChg>
        <pc:spChg chg="mod">
          <ac:chgData name="Miraj Sinya" userId="a6e95797-5893-4261-9f10-8f81f198df75" providerId="ADAL" clId="{8472ECB8-F9E0-4601-97F7-CD5843E52E4A}" dt="2023-04-19T03:22:12.697" v="451" actId="14100"/>
          <ac:spMkLst>
            <pc:docMk/>
            <pc:sldMk cId="3560507232" sldId="635"/>
            <ac:spMk id="29" creationId="{4CC654B2-8712-85C0-AC3A-6274EABE461B}"/>
          </ac:spMkLst>
        </pc:spChg>
        <pc:spChg chg="del">
          <ac:chgData name="Miraj Sinya" userId="a6e95797-5893-4261-9f10-8f81f198df75" providerId="ADAL" clId="{8472ECB8-F9E0-4601-97F7-CD5843E52E4A}" dt="2023-04-19T16:05:16.403" v="654" actId="478"/>
          <ac:spMkLst>
            <pc:docMk/>
            <pc:sldMk cId="3560507232" sldId="635"/>
            <ac:spMk id="31" creationId="{6ADF8A60-9480-5143-EF62-9EC833519468}"/>
          </ac:spMkLst>
        </pc:spChg>
        <pc:spChg chg="mod">
          <ac:chgData name="Miraj Sinya" userId="a6e95797-5893-4261-9f10-8f81f198df75" providerId="ADAL" clId="{8472ECB8-F9E0-4601-97F7-CD5843E52E4A}" dt="2023-04-19T02:20:34.006" v="181"/>
          <ac:spMkLst>
            <pc:docMk/>
            <pc:sldMk cId="3560507232" sldId="635"/>
            <ac:spMk id="33" creationId="{135719C0-BF57-4292-6B11-A68183989176}"/>
          </ac:spMkLst>
        </pc:spChg>
        <pc:spChg chg="mod">
          <ac:chgData name="Miraj Sinya" userId="a6e95797-5893-4261-9f10-8f81f198df75" providerId="ADAL" clId="{8472ECB8-F9E0-4601-97F7-CD5843E52E4A}" dt="2023-04-19T02:20:34.006" v="181"/>
          <ac:spMkLst>
            <pc:docMk/>
            <pc:sldMk cId="3560507232" sldId="635"/>
            <ac:spMk id="34" creationId="{0A2D85C4-2C6F-4E37-28C7-C770C8E77BDA}"/>
          </ac:spMkLst>
        </pc:spChg>
        <pc:spChg chg="mod">
          <ac:chgData name="Miraj Sinya" userId="a6e95797-5893-4261-9f10-8f81f198df75" providerId="ADAL" clId="{8472ECB8-F9E0-4601-97F7-CD5843E52E4A}" dt="2023-04-19T02:20:34.006" v="181"/>
          <ac:spMkLst>
            <pc:docMk/>
            <pc:sldMk cId="3560507232" sldId="635"/>
            <ac:spMk id="36" creationId="{CBDC3F45-918A-4ABB-3975-1C3E30DD54F2}"/>
          </ac:spMkLst>
        </pc:spChg>
        <pc:spChg chg="mod">
          <ac:chgData name="Miraj Sinya" userId="a6e95797-5893-4261-9f10-8f81f198df75" providerId="ADAL" clId="{8472ECB8-F9E0-4601-97F7-CD5843E52E4A}" dt="2023-04-19T02:24:19.679" v="191"/>
          <ac:spMkLst>
            <pc:docMk/>
            <pc:sldMk cId="3560507232" sldId="635"/>
            <ac:spMk id="37" creationId="{2E9D9C2F-C1D0-673D-2FC8-46F1B66B4012}"/>
          </ac:spMkLst>
        </pc:spChg>
        <pc:spChg chg="add mod">
          <ac:chgData name="Miraj Sinya" userId="a6e95797-5893-4261-9f10-8f81f198df75" providerId="ADAL" clId="{8472ECB8-F9E0-4601-97F7-CD5843E52E4A}" dt="2023-04-19T02:59:33.034" v="341" actId="14100"/>
          <ac:spMkLst>
            <pc:docMk/>
            <pc:sldMk cId="3560507232" sldId="635"/>
            <ac:spMk id="39" creationId="{76C8368A-CA3C-EF6A-E252-433764E52C66}"/>
          </ac:spMkLst>
        </pc:spChg>
        <pc:spChg chg="add del mod">
          <ac:chgData name="Miraj Sinya" userId="a6e95797-5893-4261-9f10-8f81f198df75" providerId="ADAL" clId="{8472ECB8-F9E0-4601-97F7-CD5843E52E4A}" dt="2023-04-19T02:51:33.488" v="262" actId="478"/>
          <ac:spMkLst>
            <pc:docMk/>
            <pc:sldMk cId="3560507232" sldId="635"/>
            <ac:spMk id="40" creationId="{65ADFBAC-D0FF-1407-49A8-23385A0D42B0}"/>
          </ac:spMkLst>
        </pc:spChg>
        <pc:spChg chg="del mod">
          <ac:chgData name="Miraj Sinya" userId="a6e95797-5893-4261-9f10-8f81f198df75" providerId="ADAL" clId="{8472ECB8-F9E0-4601-97F7-CD5843E52E4A}" dt="2023-04-19T02:51:38.134" v="263" actId="478"/>
          <ac:spMkLst>
            <pc:docMk/>
            <pc:sldMk cId="3560507232" sldId="635"/>
            <ac:spMk id="47" creationId="{DF24D2A5-F2A6-1D1D-2E65-75CB43A155AD}"/>
          </ac:spMkLst>
        </pc:spChg>
        <pc:spChg chg="mod">
          <ac:chgData name="Miraj Sinya" userId="a6e95797-5893-4261-9f10-8f81f198df75" providerId="ADAL" clId="{8472ECB8-F9E0-4601-97F7-CD5843E52E4A}" dt="2023-04-19T02:51:06.225" v="258" actId="165"/>
          <ac:spMkLst>
            <pc:docMk/>
            <pc:sldMk cId="3560507232" sldId="635"/>
            <ac:spMk id="48" creationId="{AF1815E8-940B-368C-79EB-97A1455FEE54}"/>
          </ac:spMkLst>
        </pc:spChg>
        <pc:spChg chg="mod">
          <ac:chgData name="Miraj Sinya" userId="a6e95797-5893-4261-9f10-8f81f198df75" providerId="ADAL" clId="{8472ECB8-F9E0-4601-97F7-CD5843E52E4A}" dt="2023-04-19T02:51:06.225" v="258" actId="165"/>
          <ac:spMkLst>
            <pc:docMk/>
            <pc:sldMk cId="3560507232" sldId="635"/>
            <ac:spMk id="49" creationId="{08D25BAA-91B7-2E60-A9B5-D8CA9ADF14A9}"/>
          </ac:spMkLst>
        </pc:spChg>
        <pc:spChg chg="mod">
          <ac:chgData name="Miraj Sinya" userId="a6e95797-5893-4261-9f10-8f81f198df75" providerId="ADAL" clId="{8472ECB8-F9E0-4601-97F7-CD5843E52E4A}" dt="2023-04-19T02:51:06.225" v="258" actId="165"/>
          <ac:spMkLst>
            <pc:docMk/>
            <pc:sldMk cId="3560507232" sldId="635"/>
            <ac:spMk id="50" creationId="{0847D444-7461-A851-0CC7-38916DE4ED98}"/>
          </ac:spMkLst>
        </pc:spChg>
        <pc:spChg chg="mod">
          <ac:chgData name="Miraj Sinya" userId="a6e95797-5893-4261-9f10-8f81f198df75" providerId="ADAL" clId="{8472ECB8-F9E0-4601-97F7-CD5843E52E4A}" dt="2023-04-19T02:51:06.225" v="258" actId="165"/>
          <ac:spMkLst>
            <pc:docMk/>
            <pc:sldMk cId="3560507232" sldId="635"/>
            <ac:spMk id="51" creationId="{B1649E68-62E0-C408-56C0-41650A82BABE}"/>
          </ac:spMkLst>
        </pc:spChg>
        <pc:spChg chg="mod">
          <ac:chgData name="Miraj Sinya" userId="a6e95797-5893-4261-9f10-8f81f198df75" providerId="ADAL" clId="{8472ECB8-F9E0-4601-97F7-CD5843E52E4A}" dt="2023-04-19T02:51:06.225" v="258" actId="165"/>
          <ac:spMkLst>
            <pc:docMk/>
            <pc:sldMk cId="3560507232" sldId="635"/>
            <ac:spMk id="52" creationId="{57533BE3-935D-5A85-C034-91F016561953}"/>
          </ac:spMkLst>
        </pc:spChg>
        <pc:spChg chg="add del mod topLvl">
          <ac:chgData name="Miraj Sinya" userId="a6e95797-5893-4261-9f10-8f81f198df75" providerId="ADAL" clId="{8472ECB8-F9E0-4601-97F7-CD5843E52E4A}" dt="2023-04-19T02:58:23.531" v="335" actId="478"/>
          <ac:spMkLst>
            <pc:docMk/>
            <pc:sldMk cId="3560507232" sldId="635"/>
            <ac:spMk id="56" creationId="{50457CCD-974A-A6A6-1780-4A7642A3480E}"/>
          </ac:spMkLst>
        </pc:spChg>
        <pc:spChg chg="mod topLvl">
          <ac:chgData name="Miraj Sinya" userId="a6e95797-5893-4261-9f10-8f81f198df75" providerId="ADAL" clId="{8472ECB8-F9E0-4601-97F7-CD5843E52E4A}" dt="2023-04-19T03:22:12.697" v="451" actId="14100"/>
          <ac:spMkLst>
            <pc:docMk/>
            <pc:sldMk cId="3560507232" sldId="635"/>
            <ac:spMk id="57" creationId="{4051D3BC-D8AA-67C1-5561-59B9745CD3E2}"/>
          </ac:spMkLst>
        </pc:spChg>
        <pc:spChg chg="del mod topLvl">
          <ac:chgData name="Miraj Sinya" userId="a6e95797-5893-4261-9f10-8f81f198df75" providerId="ADAL" clId="{8472ECB8-F9E0-4601-97F7-CD5843E52E4A}" dt="2023-04-19T02:58:32.355" v="336" actId="478"/>
          <ac:spMkLst>
            <pc:docMk/>
            <pc:sldMk cId="3560507232" sldId="635"/>
            <ac:spMk id="59" creationId="{305DD1F0-0FBD-86F1-352D-D81F84D45562}"/>
          </ac:spMkLst>
        </pc:spChg>
        <pc:spChg chg="mod topLvl">
          <ac:chgData name="Miraj Sinya" userId="a6e95797-5893-4261-9f10-8f81f198df75" providerId="ADAL" clId="{8472ECB8-F9E0-4601-97F7-CD5843E52E4A}" dt="2023-04-19T03:22:12.697" v="451" actId="14100"/>
          <ac:spMkLst>
            <pc:docMk/>
            <pc:sldMk cId="3560507232" sldId="635"/>
            <ac:spMk id="60" creationId="{0ADD7C4E-4A11-F5E5-445C-B89C963AB6E2}"/>
          </ac:spMkLst>
        </pc:spChg>
        <pc:spChg chg="add del mod ord">
          <ac:chgData name="Miraj Sinya" userId="a6e95797-5893-4261-9f10-8f81f198df75" providerId="ADAL" clId="{8472ECB8-F9E0-4601-97F7-CD5843E52E4A}" dt="2023-04-19T02:53:54.825" v="280"/>
          <ac:spMkLst>
            <pc:docMk/>
            <pc:sldMk cId="3560507232" sldId="635"/>
            <ac:spMk id="65" creationId="{C2390EC6-4E75-977B-0C76-16A4C06A9AA1}"/>
          </ac:spMkLst>
        </pc:spChg>
        <pc:spChg chg="add mod ord">
          <ac:chgData name="Miraj Sinya" userId="a6e95797-5893-4261-9f10-8f81f198df75" providerId="ADAL" clId="{8472ECB8-F9E0-4601-97F7-CD5843E52E4A}" dt="2023-04-19T03:18:36.947" v="403" actId="1037"/>
          <ac:spMkLst>
            <pc:docMk/>
            <pc:sldMk cId="3560507232" sldId="635"/>
            <ac:spMk id="66" creationId="{A034378A-C876-1CA8-3643-4D44F2EDA328}"/>
          </ac:spMkLst>
        </pc:spChg>
        <pc:spChg chg="add mod">
          <ac:chgData name="Miraj Sinya" userId="a6e95797-5893-4261-9f10-8f81f198df75" providerId="ADAL" clId="{8472ECB8-F9E0-4601-97F7-CD5843E52E4A}" dt="2023-04-19T03:19:53.352" v="411" actId="6549"/>
          <ac:spMkLst>
            <pc:docMk/>
            <pc:sldMk cId="3560507232" sldId="635"/>
            <ac:spMk id="67" creationId="{3B52C1A1-90F8-FBFF-D6A2-ADEA57E060FE}"/>
          </ac:spMkLst>
        </pc:spChg>
        <pc:spChg chg="add mod">
          <ac:chgData name="Miraj Sinya" userId="a6e95797-5893-4261-9f10-8f81f198df75" providerId="ADAL" clId="{8472ECB8-F9E0-4601-97F7-CD5843E52E4A}" dt="2023-04-19T03:24:00.155" v="454" actId="1076"/>
          <ac:spMkLst>
            <pc:docMk/>
            <pc:sldMk cId="3560507232" sldId="635"/>
            <ac:spMk id="76" creationId="{BD17955A-0FD7-C88C-D1CB-6BE426A35C73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2" creationId="{53FF0EF7-663E-1DB8-10D9-6EE938E90DFC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3" creationId="{0FD77EED-2A19-D303-45B2-FA48F4F18AF1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5" creationId="{879193ED-9AAB-CE14-CFD2-9258E90E5638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6" creationId="{B86D20C5-F476-F5AB-96B1-3E7C7448F508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7" creationId="{905A6A82-7DCC-758D-2F5F-7A87E20FB99A}"/>
          </ac:spMkLst>
        </pc:spChg>
        <pc:spChg chg="mod">
          <ac:chgData name="Miraj Sinya" userId="a6e95797-5893-4261-9f10-8f81f198df75" providerId="ADAL" clId="{8472ECB8-F9E0-4601-97F7-CD5843E52E4A}" dt="2023-04-19T03:20:26.814" v="440"/>
          <ac:spMkLst>
            <pc:docMk/>
            <pc:sldMk cId="3560507232" sldId="635"/>
            <ac:spMk id="108" creationId="{36940C68-296D-2D94-A0A6-CEF191E67CF0}"/>
          </ac:spMkLst>
        </pc:spChg>
        <pc:spChg chg="add mod">
          <ac:chgData name="Miraj Sinya" userId="a6e95797-5893-4261-9f10-8f81f198df75" providerId="ADAL" clId="{8472ECB8-F9E0-4601-97F7-CD5843E52E4A}" dt="2023-04-19T03:21:06.698" v="443" actId="1076"/>
          <ac:spMkLst>
            <pc:docMk/>
            <pc:sldMk cId="3560507232" sldId="635"/>
            <ac:spMk id="109" creationId="{DD00B35D-CC45-EA34-2213-1508EC3E50CA}"/>
          </ac:spMkLst>
        </pc:spChg>
        <pc:spChg chg="add del mod">
          <ac:chgData name="Miraj Sinya" userId="a6e95797-5893-4261-9f10-8f81f198df75" providerId="ADAL" clId="{8472ECB8-F9E0-4601-97F7-CD5843E52E4A}" dt="2023-04-19T03:21:13.023" v="445"/>
          <ac:spMkLst>
            <pc:docMk/>
            <pc:sldMk cId="3560507232" sldId="635"/>
            <ac:spMk id="110" creationId="{3A1305DA-2274-F8CC-036A-3563BC5B08C2}"/>
          </ac:spMkLst>
        </pc:spChg>
        <pc:spChg chg="add del mod">
          <ac:chgData name="Miraj Sinya" userId="a6e95797-5893-4261-9f10-8f81f198df75" providerId="ADAL" clId="{8472ECB8-F9E0-4601-97F7-CD5843E52E4A}" dt="2023-04-19T03:21:13.023" v="445"/>
          <ac:spMkLst>
            <pc:docMk/>
            <pc:sldMk cId="3560507232" sldId="635"/>
            <ac:spMk id="111" creationId="{B560A94A-E062-97D0-C16F-6147EE8B2364}"/>
          </ac:spMkLst>
        </pc:spChg>
        <pc:spChg chg="del">
          <ac:chgData name="Miraj Sinya" userId="a6e95797-5893-4261-9f10-8f81f198df75" providerId="ADAL" clId="{8472ECB8-F9E0-4601-97F7-CD5843E52E4A}" dt="2023-04-19T02:20:27.169" v="180" actId="478"/>
          <ac:spMkLst>
            <pc:docMk/>
            <pc:sldMk cId="3560507232" sldId="635"/>
            <ac:spMk id="112" creationId="{F09BD068-078A-813A-60FB-2B9DD9BCC48C}"/>
          </ac:spMkLst>
        </pc:spChg>
        <pc:spChg chg="add mod">
          <ac:chgData name="Miraj Sinya" userId="a6e95797-5893-4261-9f10-8f81f198df75" providerId="ADAL" clId="{8472ECB8-F9E0-4601-97F7-CD5843E52E4A}" dt="2023-04-19T03:21:23.295" v="447" actId="14100"/>
          <ac:spMkLst>
            <pc:docMk/>
            <pc:sldMk cId="3560507232" sldId="635"/>
            <ac:spMk id="113" creationId="{09559653-C2BB-B9BD-ECD2-5E6A21EE869A}"/>
          </ac:spMkLst>
        </pc:spChg>
        <pc:spChg chg="del">
          <ac:chgData name="Miraj Sinya" userId="a6e95797-5893-4261-9f10-8f81f198df75" providerId="ADAL" clId="{8472ECB8-F9E0-4601-97F7-CD5843E52E4A}" dt="2023-04-19T02:20:27.169" v="180" actId="478"/>
          <ac:spMkLst>
            <pc:docMk/>
            <pc:sldMk cId="3560507232" sldId="635"/>
            <ac:spMk id="116" creationId="{50A11298-8527-5AAE-6178-B539505C1461}"/>
          </ac:spMkLst>
        </pc:spChg>
        <pc:grpChg chg="add del mod">
          <ac:chgData name="Miraj Sinya" userId="a6e95797-5893-4261-9f10-8f81f198df75" providerId="ADAL" clId="{8472ECB8-F9E0-4601-97F7-CD5843E52E4A}" dt="2023-04-19T02:20:24.115" v="179"/>
          <ac:grpSpMkLst>
            <pc:docMk/>
            <pc:sldMk cId="3560507232" sldId="635"/>
            <ac:grpSpMk id="3" creationId="{B5928946-F4C1-A3A9-F8AE-AF5487547FA6}"/>
          </ac:grpSpMkLst>
        </pc:grpChg>
        <pc:grpChg chg="add del mod">
          <ac:chgData name="Miraj Sinya" userId="a6e95797-5893-4261-9f10-8f81f198df75" providerId="ADAL" clId="{8472ECB8-F9E0-4601-97F7-CD5843E52E4A}" dt="2023-04-19T02:47:12.088" v="215" actId="165"/>
          <ac:grpSpMkLst>
            <pc:docMk/>
            <pc:sldMk cId="3560507232" sldId="635"/>
            <ac:grpSpMk id="8" creationId="{4DB6C337-9F7D-9A04-7BCE-AE2E38B4F4E4}"/>
          </ac:grpSpMkLst>
        </pc:grpChg>
        <pc:grpChg chg="add mod">
          <ac:chgData name="Miraj Sinya" userId="a6e95797-5893-4261-9f10-8f81f198df75" providerId="ADAL" clId="{8472ECB8-F9E0-4601-97F7-CD5843E52E4A}" dt="2023-04-19T03:22:12.697" v="451" actId="14100"/>
          <ac:grpSpMkLst>
            <pc:docMk/>
            <pc:sldMk cId="3560507232" sldId="635"/>
            <ac:grpSpMk id="27" creationId="{96AFED4A-D2CB-95E6-B565-366060E5CEB7}"/>
          </ac:grpSpMkLst>
        </pc:grpChg>
        <pc:grpChg chg="add del mod">
          <ac:chgData name="Miraj Sinya" userId="a6e95797-5893-4261-9f10-8f81f198df75" providerId="ADAL" clId="{8472ECB8-F9E0-4601-97F7-CD5843E52E4A}" dt="2023-04-19T02:48:23.613" v="223" actId="478"/>
          <ac:grpSpMkLst>
            <pc:docMk/>
            <pc:sldMk cId="3560507232" sldId="635"/>
            <ac:grpSpMk id="32" creationId="{EE96D15D-0EB9-A1CE-12BA-3A36161C2B63}"/>
          </ac:grpSpMkLst>
        </pc:grpChg>
        <pc:grpChg chg="mod">
          <ac:chgData name="Miraj Sinya" userId="a6e95797-5893-4261-9f10-8f81f198df75" providerId="ADAL" clId="{8472ECB8-F9E0-4601-97F7-CD5843E52E4A}" dt="2023-04-19T02:20:34.006" v="181"/>
          <ac:grpSpMkLst>
            <pc:docMk/>
            <pc:sldMk cId="3560507232" sldId="635"/>
            <ac:grpSpMk id="35" creationId="{0821AC2D-2ABB-72FF-DB1B-14B7F5009330}"/>
          </ac:grpSpMkLst>
        </pc:grpChg>
        <pc:grpChg chg="add del mod">
          <ac:chgData name="Miraj Sinya" userId="a6e95797-5893-4261-9f10-8f81f198df75" providerId="ADAL" clId="{8472ECB8-F9E0-4601-97F7-CD5843E52E4A}" dt="2023-04-19T02:51:41.673" v="264" actId="478"/>
          <ac:grpSpMkLst>
            <pc:docMk/>
            <pc:sldMk cId="3560507232" sldId="635"/>
            <ac:grpSpMk id="41" creationId="{DD108825-CA9B-BCF7-75D9-82D33AC3D2AC}"/>
          </ac:grpSpMkLst>
        </pc:grpChg>
        <pc:grpChg chg="mod topLvl">
          <ac:chgData name="Miraj Sinya" userId="a6e95797-5893-4261-9f10-8f81f198df75" providerId="ADAL" clId="{8472ECB8-F9E0-4601-97F7-CD5843E52E4A}" dt="2023-04-19T02:51:06.225" v="258" actId="165"/>
          <ac:grpSpMkLst>
            <pc:docMk/>
            <pc:sldMk cId="3560507232" sldId="635"/>
            <ac:grpSpMk id="42" creationId="{48825DED-04BD-F583-B3E0-70101C85F4F4}"/>
          </ac:grpSpMkLst>
        </pc:grpChg>
        <pc:grpChg chg="mod topLvl">
          <ac:chgData name="Miraj Sinya" userId="a6e95797-5893-4261-9f10-8f81f198df75" providerId="ADAL" clId="{8472ECB8-F9E0-4601-97F7-CD5843E52E4A}" dt="2023-04-19T02:51:06.225" v="258" actId="165"/>
          <ac:grpSpMkLst>
            <pc:docMk/>
            <pc:sldMk cId="3560507232" sldId="635"/>
            <ac:grpSpMk id="44" creationId="{847F7F3D-3ABE-FE03-63D1-DB1E8486D208}"/>
          </ac:grpSpMkLst>
        </pc:grpChg>
        <pc:grpChg chg="del mod topLvl">
          <ac:chgData name="Miraj Sinya" userId="a6e95797-5893-4261-9f10-8f81f198df75" providerId="ADAL" clId="{8472ECB8-F9E0-4601-97F7-CD5843E52E4A}" dt="2023-04-19T02:51:38.134" v="263" actId="478"/>
          <ac:grpSpMkLst>
            <pc:docMk/>
            <pc:sldMk cId="3560507232" sldId="635"/>
            <ac:grpSpMk id="46" creationId="{2FE050CA-1678-02F2-9E11-6F91D7F0B2E0}"/>
          </ac:grpSpMkLst>
        </pc:grpChg>
        <pc:grpChg chg="add del mod">
          <ac:chgData name="Miraj Sinya" userId="a6e95797-5893-4261-9f10-8f81f198df75" providerId="ADAL" clId="{8472ECB8-F9E0-4601-97F7-CD5843E52E4A}" dt="2023-04-19T02:58:23.531" v="335" actId="478"/>
          <ac:grpSpMkLst>
            <pc:docMk/>
            <pc:sldMk cId="3560507232" sldId="635"/>
            <ac:grpSpMk id="55" creationId="{ED28BFA4-0D6E-5E1E-BA1E-57E7DBF865B8}"/>
          </ac:grpSpMkLst>
        </pc:grpChg>
        <pc:grpChg chg="add del mod">
          <ac:chgData name="Miraj Sinya" userId="a6e95797-5893-4261-9f10-8f81f198df75" providerId="ADAL" clId="{8472ECB8-F9E0-4601-97F7-CD5843E52E4A}" dt="2023-04-19T02:58:32.355" v="336" actId="478"/>
          <ac:grpSpMkLst>
            <pc:docMk/>
            <pc:sldMk cId="3560507232" sldId="635"/>
            <ac:grpSpMk id="58" creationId="{238F778E-CF34-5738-C102-43AF0361EE14}"/>
          </ac:grpSpMkLst>
        </pc:grpChg>
        <pc:grpChg chg="del">
          <ac:chgData name="Miraj Sinya" userId="a6e95797-5893-4261-9f10-8f81f198df75" providerId="ADAL" clId="{8472ECB8-F9E0-4601-97F7-CD5843E52E4A}" dt="2023-04-19T02:20:20.128" v="177" actId="478"/>
          <ac:grpSpMkLst>
            <pc:docMk/>
            <pc:sldMk cId="3560507232" sldId="635"/>
            <ac:grpSpMk id="82" creationId="{FE1D9C3A-EA89-E00F-2215-08298B0AEED7}"/>
          </ac:grpSpMkLst>
        </pc:grpChg>
        <pc:grpChg chg="add mod">
          <ac:chgData name="Miraj Sinya" userId="a6e95797-5893-4261-9f10-8f81f198df75" providerId="ADAL" clId="{8472ECB8-F9E0-4601-97F7-CD5843E52E4A}" dt="2023-04-19T03:22:12.697" v="451" actId="14100"/>
          <ac:grpSpMkLst>
            <pc:docMk/>
            <pc:sldMk cId="3560507232" sldId="635"/>
            <ac:grpSpMk id="83" creationId="{D23F9434-4C4E-A7B8-9353-BF3133CE5564}"/>
          </ac:grpSpMkLst>
        </pc:grpChg>
        <pc:grpChg chg="add mod">
          <ac:chgData name="Miraj Sinya" userId="a6e95797-5893-4261-9f10-8f81f198df75" providerId="ADAL" clId="{8472ECB8-F9E0-4601-97F7-CD5843E52E4A}" dt="2023-04-19T03:20:32.057" v="441" actId="1076"/>
          <ac:grpSpMkLst>
            <pc:docMk/>
            <pc:sldMk cId="3560507232" sldId="635"/>
            <ac:grpSpMk id="84" creationId="{CC5B771A-FCD9-BCA5-9FD7-1027FEBE500C}"/>
          </ac:grpSpMkLst>
        </pc:grpChg>
        <pc:grpChg chg="mod">
          <ac:chgData name="Miraj Sinya" userId="a6e95797-5893-4261-9f10-8f81f198df75" providerId="ADAL" clId="{8472ECB8-F9E0-4601-97F7-CD5843E52E4A}" dt="2023-04-19T03:20:26.814" v="440"/>
          <ac:grpSpMkLst>
            <pc:docMk/>
            <pc:sldMk cId="3560507232" sldId="635"/>
            <ac:grpSpMk id="85" creationId="{88FC3404-5798-1579-9A7B-2FF780F0EAAE}"/>
          </ac:grpSpMkLst>
        </pc:grpChg>
        <pc:grpChg chg="del">
          <ac:chgData name="Miraj Sinya" userId="a6e95797-5893-4261-9f10-8f81f198df75" providerId="ADAL" clId="{8472ECB8-F9E0-4601-97F7-CD5843E52E4A}" dt="2023-04-19T02:20:27.169" v="180" actId="478"/>
          <ac:grpSpMkLst>
            <pc:docMk/>
            <pc:sldMk cId="3560507232" sldId="635"/>
            <ac:grpSpMk id="88" creationId="{C03DE942-D2BF-B8CB-D2E1-6ECD7998BB24}"/>
          </ac:grpSpMkLst>
        </pc:grpChg>
        <pc:grpChg chg="mod">
          <ac:chgData name="Miraj Sinya" userId="a6e95797-5893-4261-9f10-8f81f198df75" providerId="ADAL" clId="{8472ECB8-F9E0-4601-97F7-CD5843E52E4A}" dt="2023-04-19T03:20:26.814" v="440"/>
          <ac:grpSpMkLst>
            <pc:docMk/>
            <pc:sldMk cId="3560507232" sldId="635"/>
            <ac:grpSpMk id="91" creationId="{69E1399C-2D2D-0C2E-0E33-34193A3E3913}"/>
          </ac:grpSpMkLst>
        </pc:grpChg>
        <pc:grpChg chg="mod">
          <ac:chgData name="Miraj Sinya" userId="a6e95797-5893-4261-9f10-8f81f198df75" providerId="ADAL" clId="{8472ECB8-F9E0-4601-97F7-CD5843E52E4A}" dt="2023-04-19T03:20:26.814" v="440"/>
          <ac:grpSpMkLst>
            <pc:docMk/>
            <pc:sldMk cId="3560507232" sldId="635"/>
            <ac:grpSpMk id="98" creationId="{6E24AEE3-85D2-287A-7E8D-123ABC1F2135}"/>
          </ac:grpSpMkLst>
        </pc:grpChg>
        <pc:grpChg chg="del">
          <ac:chgData name="Miraj Sinya" userId="a6e95797-5893-4261-9f10-8f81f198df75" providerId="ADAL" clId="{8472ECB8-F9E0-4601-97F7-CD5843E52E4A}" dt="2023-04-19T02:20:27.169" v="180" actId="478"/>
          <ac:grpSpMkLst>
            <pc:docMk/>
            <pc:sldMk cId="3560507232" sldId="635"/>
            <ac:grpSpMk id="101" creationId="{07DC8A5F-FDAE-3D73-F1D8-C5FD4743392E}"/>
          </ac:grpSpMkLst>
        </pc:grpChg>
        <pc:grpChg chg="del">
          <ac:chgData name="Miraj Sinya" userId="a6e95797-5893-4261-9f10-8f81f198df75" providerId="ADAL" clId="{8472ECB8-F9E0-4601-97F7-CD5843E52E4A}" dt="2023-04-19T02:20:27.169" v="180" actId="478"/>
          <ac:grpSpMkLst>
            <pc:docMk/>
            <pc:sldMk cId="3560507232" sldId="635"/>
            <ac:grpSpMk id="129" creationId="{BEF3D7FA-B438-8699-1A9F-67BED875526F}"/>
          </ac:grpSpMkLst>
        </pc:grpChg>
        <pc:cxnChg chg="mod">
          <ac:chgData name="Miraj Sinya" userId="a6e95797-5893-4261-9f10-8f81f198df75" providerId="ADAL" clId="{8472ECB8-F9E0-4601-97F7-CD5843E52E4A}" dt="2023-04-19T03:08:15.175" v="366" actId="465"/>
          <ac:cxnSpMkLst>
            <pc:docMk/>
            <pc:sldMk cId="3560507232" sldId="635"/>
            <ac:cxnSpMk id="15" creationId="{48B2C8EC-7BB0-6BE4-5058-F8275E640070}"/>
          </ac:cxnSpMkLst>
        </pc:cxnChg>
        <pc:cxnChg chg="mod">
          <ac:chgData name="Miraj Sinya" userId="a6e95797-5893-4261-9f10-8f81f198df75" providerId="ADAL" clId="{8472ECB8-F9E0-4601-97F7-CD5843E52E4A}" dt="2023-04-19T03:08:15.175" v="366" actId="465"/>
          <ac:cxnSpMkLst>
            <pc:docMk/>
            <pc:sldMk cId="3560507232" sldId="635"/>
            <ac:cxnSpMk id="18" creationId="{133FE64F-9467-00A4-2DCB-DF4196653732}"/>
          </ac:cxnSpMkLst>
        </pc:cxnChg>
        <pc:cxnChg chg="add del mod">
          <ac:chgData name="Miraj Sinya" userId="a6e95797-5893-4261-9f10-8f81f198df75" providerId="ADAL" clId="{8472ECB8-F9E0-4601-97F7-CD5843E52E4A}" dt="2023-04-19T02:48:41.984" v="230" actId="478"/>
          <ac:cxnSpMkLst>
            <pc:docMk/>
            <pc:sldMk cId="3560507232" sldId="635"/>
            <ac:cxnSpMk id="30" creationId="{8F166AF4-64BB-56C7-B496-99BD9A6B35C1}"/>
          </ac:cxnSpMkLst>
        </pc:cxnChg>
        <pc:cxnChg chg="add mod">
          <ac:chgData name="Miraj Sinya" userId="a6e95797-5893-4261-9f10-8f81f198df75" providerId="ADAL" clId="{8472ECB8-F9E0-4601-97F7-CD5843E52E4A}" dt="2023-04-19T03:22:12.697" v="451" actId="14100"/>
          <ac:cxnSpMkLst>
            <pc:docMk/>
            <pc:sldMk cId="3560507232" sldId="635"/>
            <ac:cxnSpMk id="38" creationId="{52BAC6E2-3069-723B-65E4-DAB79C6A16EA}"/>
          </ac:cxnSpMkLst>
        </pc:cxnChg>
        <pc:cxnChg chg="mod topLvl">
          <ac:chgData name="Miraj Sinya" userId="a6e95797-5893-4261-9f10-8f81f198df75" providerId="ADAL" clId="{8472ECB8-F9E0-4601-97F7-CD5843E52E4A}" dt="2023-04-19T02:51:06.225" v="258" actId="165"/>
          <ac:cxnSpMkLst>
            <pc:docMk/>
            <pc:sldMk cId="3560507232" sldId="635"/>
            <ac:cxnSpMk id="43" creationId="{D11884A1-B6AA-4CBE-F547-10DA6B7E9A05}"/>
          </ac:cxnSpMkLst>
        </pc:cxnChg>
        <pc:cxnChg chg="mod topLvl">
          <ac:chgData name="Miraj Sinya" userId="a6e95797-5893-4261-9f10-8f81f198df75" providerId="ADAL" clId="{8472ECB8-F9E0-4601-97F7-CD5843E52E4A}" dt="2023-04-19T02:51:06.225" v="258" actId="165"/>
          <ac:cxnSpMkLst>
            <pc:docMk/>
            <pc:sldMk cId="3560507232" sldId="635"/>
            <ac:cxnSpMk id="45" creationId="{1E57AF02-18DA-9933-8DBD-0A189141FFEF}"/>
          </ac:cxnSpMkLst>
        </pc:cxnChg>
        <pc:cxnChg chg="add mod">
          <ac:chgData name="Miraj Sinya" userId="a6e95797-5893-4261-9f10-8f81f198df75" providerId="ADAL" clId="{8472ECB8-F9E0-4601-97F7-CD5843E52E4A}" dt="2023-04-19T03:22:12.697" v="451" actId="14100"/>
          <ac:cxnSpMkLst>
            <pc:docMk/>
            <pc:sldMk cId="3560507232" sldId="635"/>
            <ac:cxnSpMk id="54" creationId="{E4DE0798-B7E4-7FB2-619C-586E02D54A9D}"/>
          </ac:cxnSpMkLst>
        </pc:cxnChg>
        <pc:cxnChg chg="add mod">
          <ac:chgData name="Miraj Sinya" userId="a6e95797-5893-4261-9f10-8f81f198df75" providerId="ADAL" clId="{8472ECB8-F9E0-4601-97F7-CD5843E52E4A}" dt="2023-04-19T03:22:12.697" v="451" actId="14100"/>
          <ac:cxnSpMkLst>
            <pc:docMk/>
            <pc:sldMk cId="3560507232" sldId="635"/>
            <ac:cxnSpMk id="69" creationId="{66DB3596-D345-F1E8-A7C4-72C2A9DE2A7F}"/>
          </ac:cxnSpMkLst>
        </pc:cxnChg>
        <pc:cxnChg chg="add mod">
          <ac:chgData name="Miraj Sinya" userId="a6e95797-5893-4261-9f10-8f81f198df75" providerId="ADAL" clId="{8472ECB8-F9E0-4601-97F7-CD5843E52E4A}" dt="2023-04-19T03:22:12.697" v="451" actId="14100"/>
          <ac:cxnSpMkLst>
            <pc:docMk/>
            <pc:sldMk cId="3560507232" sldId="635"/>
            <ac:cxnSpMk id="79" creationId="{68DED0EF-D3FB-0D26-947C-3448AE11F07D}"/>
          </ac:cxnSpMkLst>
        </pc:cxnChg>
        <pc:cxnChg chg="mod">
          <ac:chgData name="Miraj Sinya" userId="a6e95797-5893-4261-9f10-8f81f198df75" providerId="ADAL" clId="{8472ECB8-F9E0-4601-97F7-CD5843E52E4A}" dt="2023-04-19T03:20:26.814" v="440"/>
          <ac:cxnSpMkLst>
            <pc:docMk/>
            <pc:sldMk cId="3560507232" sldId="635"/>
            <ac:cxnSpMk id="89" creationId="{9F76E13C-2B34-A74E-98BA-899C665A7285}"/>
          </ac:cxnSpMkLst>
        </pc:cxnChg>
        <pc:cxnChg chg="del">
          <ac:chgData name="Miraj Sinya" userId="a6e95797-5893-4261-9f10-8f81f198df75" providerId="ADAL" clId="{8472ECB8-F9E0-4601-97F7-CD5843E52E4A}" dt="2023-04-19T02:20:27.169" v="180" actId="478"/>
          <ac:cxnSpMkLst>
            <pc:docMk/>
            <pc:sldMk cId="3560507232" sldId="635"/>
            <ac:cxnSpMk id="90" creationId="{66D57CB2-FD4F-4E75-109A-2F684618298F}"/>
          </ac:cxnSpMkLst>
        </pc:cxnChg>
        <pc:cxnChg chg="mod">
          <ac:chgData name="Miraj Sinya" userId="a6e95797-5893-4261-9f10-8f81f198df75" providerId="ADAL" clId="{8472ECB8-F9E0-4601-97F7-CD5843E52E4A}" dt="2023-04-19T03:20:26.814" v="440"/>
          <ac:cxnSpMkLst>
            <pc:docMk/>
            <pc:sldMk cId="3560507232" sldId="635"/>
            <ac:cxnSpMk id="97" creationId="{26F633D8-E334-71A0-4B01-0220C51E3148}"/>
          </ac:cxnSpMkLst>
        </pc:cxnChg>
        <pc:cxnChg chg="del">
          <ac:chgData name="Miraj Sinya" userId="a6e95797-5893-4261-9f10-8f81f198df75" providerId="ADAL" clId="{8472ECB8-F9E0-4601-97F7-CD5843E52E4A}" dt="2023-04-19T02:20:27.169" v="180" actId="478"/>
          <ac:cxnSpMkLst>
            <pc:docMk/>
            <pc:sldMk cId="3560507232" sldId="635"/>
            <ac:cxnSpMk id="104" creationId="{783CCCC9-1071-8CE4-1304-92D9104F418A}"/>
          </ac:cxnSpMkLst>
        </pc:cxnChg>
      </pc:sldChg>
      <pc:sldChg chg="add del mod modShow">
        <pc:chgData name="Miraj Sinya" userId="a6e95797-5893-4261-9f10-8f81f198df75" providerId="ADAL" clId="{8472ECB8-F9E0-4601-97F7-CD5843E52E4A}" dt="2023-04-19T03:49:04.285" v="587" actId="47"/>
        <pc:sldMkLst>
          <pc:docMk/>
          <pc:sldMk cId="2362228924" sldId="636"/>
        </pc:sldMkLst>
      </pc:sldChg>
      <pc:sldChg chg="addSp delSp modSp add mod modShow">
        <pc:chgData name="Miraj Sinya" userId="a6e95797-5893-4261-9f10-8f81f198df75" providerId="ADAL" clId="{8472ECB8-F9E0-4601-97F7-CD5843E52E4A}" dt="2023-04-20T01:53:25.839" v="1835" actId="14100"/>
        <pc:sldMkLst>
          <pc:docMk/>
          <pc:sldMk cId="1322459214" sldId="637"/>
        </pc:sldMkLst>
        <pc:spChg chg="del mod topLvl">
          <ac:chgData name="Miraj Sinya" userId="a6e95797-5893-4261-9f10-8f81f198df75" providerId="ADAL" clId="{8472ECB8-F9E0-4601-97F7-CD5843E52E4A}" dt="2023-04-20T01:47:31.927" v="1798" actId="478"/>
          <ac:spMkLst>
            <pc:docMk/>
            <pc:sldMk cId="1322459214" sldId="637"/>
            <ac:spMk id="6" creationId="{0781088C-C06D-645C-8440-E5A02091F1F0}"/>
          </ac:spMkLst>
        </pc:spChg>
        <pc:spChg chg="del mod topLvl">
          <ac:chgData name="Miraj Sinya" userId="a6e95797-5893-4261-9f10-8f81f198df75" providerId="ADAL" clId="{8472ECB8-F9E0-4601-97F7-CD5843E52E4A}" dt="2023-04-20T01:47:33.869" v="1799" actId="478"/>
          <ac:spMkLst>
            <pc:docMk/>
            <pc:sldMk cId="1322459214" sldId="637"/>
            <ac:spMk id="7" creationId="{9710DF87-9876-C502-A9E0-F5A76B91DBD1}"/>
          </ac:spMkLst>
        </pc:spChg>
        <pc:spChg chg="mod">
          <ac:chgData name="Miraj Sinya" userId="a6e95797-5893-4261-9f10-8f81f198df75" providerId="ADAL" clId="{8472ECB8-F9E0-4601-97F7-CD5843E52E4A}" dt="2023-04-19T03:52:02.803" v="596" actId="1076"/>
          <ac:spMkLst>
            <pc:docMk/>
            <pc:sldMk cId="1322459214" sldId="637"/>
            <ac:spMk id="9" creationId="{E0214209-913B-A6AB-7377-9A8164FDC362}"/>
          </ac:spMkLst>
        </pc:spChg>
        <pc:spChg chg="mod">
          <ac:chgData name="Miraj Sinya" userId="a6e95797-5893-4261-9f10-8f81f198df75" providerId="ADAL" clId="{8472ECB8-F9E0-4601-97F7-CD5843E52E4A}" dt="2023-04-19T03:57:28.550" v="639" actId="1076"/>
          <ac:spMkLst>
            <pc:docMk/>
            <pc:sldMk cId="1322459214" sldId="637"/>
            <ac:spMk id="10" creationId="{B2DF9219-758F-0372-0188-ED9C50750D5E}"/>
          </ac:spMkLst>
        </pc:spChg>
        <pc:spChg chg="mod">
          <ac:chgData name="Miraj Sinya" userId="a6e95797-5893-4261-9f10-8f81f198df75" providerId="ADAL" clId="{8472ECB8-F9E0-4601-97F7-CD5843E52E4A}" dt="2023-04-19T03:57:43.216" v="642" actId="1076"/>
          <ac:spMkLst>
            <pc:docMk/>
            <pc:sldMk cId="1322459214" sldId="637"/>
            <ac:spMk id="11" creationId="{33EDBBE0-E7D4-1FBC-C23B-A9FE877C7D1C}"/>
          </ac:spMkLst>
        </pc:spChg>
        <pc:spChg chg="mod">
          <ac:chgData name="Miraj Sinya" userId="a6e95797-5893-4261-9f10-8f81f198df75" providerId="ADAL" clId="{8472ECB8-F9E0-4601-97F7-CD5843E52E4A}" dt="2023-04-20T01:47:12.489" v="1794" actId="113"/>
          <ac:spMkLst>
            <pc:docMk/>
            <pc:sldMk cId="1322459214" sldId="637"/>
            <ac:spMk id="16" creationId="{167C3EA3-64D3-8A95-6738-7A356990E4BB}"/>
          </ac:spMkLst>
        </pc:spChg>
        <pc:spChg chg="mod">
          <ac:chgData name="Miraj Sinya" userId="a6e95797-5893-4261-9f10-8f81f198df75" providerId="ADAL" clId="{8472ECB8-F9E0-4601-97F7-CD5843E52E4A}" dt="2023-04-20T01:47:28.524" v="1797" actId="165"/>
          <ac:spMkLst>
            <pc:docMk/>
            <pc:sldMk cId="1322459214" sldId="637"/>
            <ac:spMk id="26" creationId="{2AE78C83-1DB7-4D35-2D0D-894F9C37D21B}"/>
          </ac:spMkLst>
        </pc:spChg>
        <pc:spChg chg="mod">
          <ac:chgData name="Miraj Sinya" userId="a6e95797-5893-4261-9f10-8f81f198df75" providerId="ADAL" clId="{8472ECB8-F9E0-4601-97F7-CD5843E52E4A}" dt="2023-04-19T03:29:06.911" v="460" actId="165"/>
          <ac:spMkLst>
            <pc:docMk/>
            <pc:sldMk cId="1322459214" sldId="637"/>
            <ac:spMk id="28" creationId="{B1566E5E-678B-0F93-1CB5-E7988EB9F95B}"/>
          </ac:spMkLst>
        </pc:spChg>
        <pc:spChg chg="mod">
          <ac:chgData name="Miraj Sinya" userId="a6e95797-5893-4261-9f10-8f81f198df75" providerId="ADAL" clId="{8472ECB8-F9E0-4601-97F7-CD5843E52E4A}" dt="2023-04-19T03:29:06.911" v="460" actId="165"/>
          <ac:spMkLst>
            <pc:docMk/>
            <pc:sldMk cId="1322459214" sldId="637"/>
            <ac:spMk id="29" creationId="{4CC654B2-8712-85C0-AC3A-6274EABE461B}"/>
          </ac:spMkLst>
        </pc:spChg>
        <pc:spChg chg="mod">
          <ac:chgData name="Miraj Sinya" userId="a6e95797-5893-4261-9f10-8f81f198df75" providerId="ADAL" clId="{8472ECB8-F9E0-4601-97F7-CD5843E52E4A}" dt="2023-04-20T01:49:56.647" v="1828" actId="20577"/>
          <ac:spMkLst>
            <pc:docMk/>
            <pc:sldMk cId="1322459214" sldId="637"/>
            <ac:spMk id="30" creationId="{CCAA0CE4-58F6-D22A-C62A-2ED525AEB2F7}"/>
          </ac:spMkLst>
        </pc:spChg>
        <pc:spChg chg="del">
          <ac:chgData name="Miraj Sinya" userId="a6e95797-5893-4261-9f10-8f81f198df75" providerId="ADAL" clId="{8472ECB8-F9E0-4601-97F7-CD5843E52E4A}" dt="2023-04-19T16:05:11.487" v="653" actId="478"/>
          <ac:spMkLst>
            <pc:docMk/>
            <pc:sldMk cId="1322459214" sldId="637"/>
            <ac:spMk id="31" creationId="{6ADF8A60-9480-5143-EF62-9EC833519468}"/>
          </ac:spMkLst>
        </pc:spChg>
        <pc:spChg chg="add mod">
          <ac:chgData name="Miraj Sinya" userId="a6e95797-5893-4261-9f10-8f81f198df75" providerId="ADAL" clId="{8472ECB8-F9E0-4601-97F7-CD5843E52E4A}" dt="2023-04-19T03:44:46.507" v="562" actId="1076"/>
          <ac:spMkLst>
            <pc:docMk/>
            <pc:sldMk cId="1322459214" sldId="637"/>
            <ac:spMk id="33" creationId="{1DA3E698-BCC1-260D-1762-AFB45782A076}"/>
          </ac:spMkLst>
        </pc:spChg>
        <pc:spChg chg="add mod">
          <ac:chgData name="Miraj Sinya" userId="a6e95797-5893-4261-9f10-8f81f198df75" providerId="ADAL" clId="{8472ECB8-F9E0-4601-97F7-CD5843E52E4A}" dt="2023-04-19T03:44:49.796" v="563" actId="14100"/>
          <ac:spMkLst>
            <pc:docMk/>
            <pc:sldMk cId="1322459214" sldId="637"/>
            <ac:spMk id="35" creationId="{C0EA79E2-FB73-B9F9-9106-D01B4B242D20}"/>
          </ac:spMkLst>
        </pc:spChg>
        <pc:spChg chg="mod">
          <ac:chgData name="Miraj Sinya" userId="a6e95797-5893-4261-9f10-8f81f198df75" providerId="ADAL" clId="{8472ECB8-F9E0-4601-97F7-CD5843E52E4A}" dt="2023-04-19T03:57:36.338" v="640" actId="14100"/>
          <ac:spMkLst>
            <pc:docMk/>
            <pc:sldMk cId="1322459214" sldId="637"/>
            <ac:spMk id="39" creationId="{76C8368A-CA3C-EF6A-E252-433764E52C66}"/>
          </ac:spMkLst>
        </pc:spChg>
        <pc:spChg chg="mod">
          <ac:chgData name="Miraj Sinya" userId="a6e95797-5893-4261-9f10-8f81f198df75" providerId="ADAL" clId="{8472ECB8-F9E0-4601-97F7-CD5843E52E4A}" dt="2023-04-19T03:30:33.618" v="477"/>
          <ac:spMkLst>
            <pc:docMk/>
            <pc:sldMk cId="1322459214" sldId="637"/>
            <ac:spMk id="44" creationId="{16B2BB85-0686-6DAE-E2DC-BA5589804639}"/>
          </ac:spMkLst>
        </pc:spChg>
        <pc:spChg chg="mod">
          <ac:chgData name="Miraj Sinya" userId="a6e95797-5893-4261-9f10-8f81f198df75" providerId="ADAL" clId="{8472ECB8-F9E0-4601-97F7-CD5843E52E4A}" dt="2023-04-19T03:30:33.618" v="477"/>
          <ac:spMkLst>
            <pc:docMk/>
            <pc:sldMk cId="1322459214" sldId="637"/>
            <ac:spMk id="45" creationId="{CF992398-BFE5-8C4C-F53E-5EBB2E3B2581}"/>
          </ac:spMkLst>
        </pc:spChg>
        <pc:spChg chg="mod">
          <ac:chgData name="Miraj Sinya" userId="a6e95797-5893-4261-9f10-8f81f198df75" providerId="ADAL" clId="{8472ECB8-F9E0-4601-97F7-CD5843E52E4A}" dt="2023-04-19T03:30:33.618" v="477"/>
          <ac:spMkLst>
            <pc:docMk/>
            <pc:sldMk cId="1322459214" sldId="637"/>
            <ac:spMk id="46" creationId="{71C3F992-D0EC-F720-AC3A-010B2EEBBD32}"/>
          </ac:spMkLst>
        </pc:spChg>
        <pc:spChg chg="mod">
          <ac:chgData name="Miraj Sinya" userId="a6e95797-5893-4261-9f10-8f81f198df75" providerId="ADAL" clId="{8472ECB8-F9E0-4601-97F7-CD5843E52E4A}" dt="2023-04-19T03:30:33.618" v="477"/>
          <ac:spMkLst>
            <pc:docMk/>
            <pc:sldMk cId="1322459214" sldId="637"/>
            <ac:spMk id="47" creationId="{E76C88CD-84F7-C9DD-60FC-E63D367D4D92}"/>
          </ac:spMkLst>
        </pc:spChg>
        <pc:spChg chg="mod">
          <ac:chgData name="Miraj Sinya" userId="a6e95797-5893-4261-9f10-8f81f198df75" providerId="ADAL" clId="{8472ECB8-F9E0-4601-97F7-CD5843E52E4A}" dt="2023-04-19T03:43:16.386" v="553" actId="1076"/>
          <ac:spMkLst>
            <pc:docMk/>
            <pc:sldMk cId="1322459214" sldId="637"/>
            <ac:spMk id="48" creationId="{6792A6BB-43B2-E975-7940-3ED5A1E59F0D}"/>
          </ac:spMkLst>
        </pc:spChg>
        <pc:spChg chg="mod">
          <ac:chgData name="Miraj Sinya" userId="a6e95797-5893-4261-9f10-8f81f198df75" providerId="ADAL" clId="{8472ECB8-F9E0-4601-97F7-CD5843E52E4A}" dt="2023-04-19T03:43:16.386" v="553" actId="1076"/>
          <ac:spMkLst>
            <pc:docMk/>
            <pc:sldMk cId="1322459214" sldId="637"/>
            <ac:spMk id="49" creationId="{D9E9B17E-F3A7-EF59-59E9-8B44C8DE7D25}"/>
          </ac:spMkLst>
        </pc:spChg>
        <pc:spChg chg="add mod">
          <ac:chgData name="Miraj Sinya" userId="a6e95797-5893-4261-9f10-8f81f198df75" providerId="ADAL" clId="{8472ECB8-F9E0-4601-97F7-CD5843E52E4A}" dt="2023-04-19T03:31:25.314" v="507" actId="571"/>
          <ac:spMkLst>
            <pc:docMk/>
            <pc:sldMk cId="1322459214" sldId="637"/>
            <ac:spMk id="51" creationId="{3C12937C-51E6-3083-3709-3E07A62D9FD2}"/>
          </ac:spMkLst>
        </pc:spChg>
        <pc:spChg chg="add mod ord">
          <ac:chgData name="Miraj Sinya" userId="a6e95797-5893-4261-9f10-8f81f198df75" providerId="ADAL" clId="{8472ECB8-F9E0-4601-97F7-CD5843E52E4A}" dt="2023-04-20T01:48:59.088" v="1816" actId="1076"/>
          <ac:spMkLst>
            <pc:docMk/>
            <pc:sldMk cId="1322459214" sldId="637"/>
            <ac:spMk id="52" creationId="{03C0B7E1-0CF8-1A0C-177E-E137A81FE5DC}"/>
          </ac:spMkLst>
        </pc:spChg>
        <pc:spChg chg="mod ord topLvl">
          <ac:chgData name="Miraj Sinya" userId="a6e95797-5893-4261-9f10-8f81f198df75" providerId="ADAL" clId="{8472ECB8-F9E0-4601-97F7-CD5843E52E4A}" dt="2023-04-20T01:49:31.303" v="1825" actId="1076"/>
          <ac:spMkLst>
            <pc:docMk/>
            <pc:sldMk cId="1322459214" sldId="637"/>
            <ac:spMk id="57" creationId="{4051D3BC-D8AA-67C1-5561-59B9745CD3E2}"/>
          </ac:spMkLst>
        </pc:spChg>
        <pc:spChg chg="add mod">
          <ac:chgData name="Miraj Sinya" userId="a6e95797-5893-4261-9f10-8f81f198df75" providerId="ADAL" clId="{8472ECB8-F9E0-4601-97F7-CD5843E52E4A}" dt="2023-04-19T03:56:20.143" v="635" actId="1076"/>
          <ac:spMkLst>
            <pc:docMk/>
            <pc:sldMk cId="1322459214" sldId="637"/>
            <ac:spMk id="58" creationId="{43B0ECE4-FDED-2E2F-F1DA-8AF34A3260EC}"/>
          </ac:spMkLst>
        </pc:spChg>
        <pc:spChg chg="mod ord topLvl">
          <ac:chgData name="Miraj Sinya" userId="a6e95797-5893-4261-9f10-8f81f198df75" providerId="ADAL" clId="{8472ECB8-F9E0-4601-97F7-CD5843E52E4A}" dt="2023-04-20T01:49:31.303" v="1825" actId="1076"/>
          <ac:spMkLst>
            <pc:docMk/>
            <pc:sldMk cId="1322459214" sldId="637"/>
            <ac:spMk id="60" creationId="{0ADD7C4E-4A11-F5E5-445C-B89C963AB6E2}"/>
          </ac:spMkLst>
        </pc:spChg>
        <pc:spChg chg="del">
          <ac:chgData name="Miraj Sinya" userId="a6e95797-5893-4261-9f10-8f81f198df75" providerId="ADAL" clId="{8472ECB8-F9E0-4601-97F7-CD5843E52E4A}" dt="2023-04-19T03:28:56.711" v="457" actId="478"/>
          <ac:spMkLst>
            <pc:docMk/>
            <pc:sldMk cId="1322459214" sldId="637"/>
            <ac:spMk id="66" creationId="{A034378A-C876-1CA8-3643-4D44F2EDA328}"/>
          </ac:spMkLst>
        </pc:spChg>
        <pc:spChg chg="del">
          <ac:chgData name="Miraj Sinya" userId="a6e95797-5893-4261-9f10-8f81f198df75" providerId="ADAL" clId="{8472ECB8-F9E0-4601-97F7-CD5843E52E4A}" dt="2023-04-19T03:28:58.420" v="458" actId="478"/>
          <ac:spMkLst>
            <pc:docMk/>
            <pc:sldMk cId="1322459214" sldId="637"/>
            <ac:spMk id="67" creationId="{3B52C1A1-90F8-FBFF-D6A2-ADEA57E060FE}"/>
          </ac:spMkLst>
        </pc:spChg>
        <pc:spChg chg="add mod ord">
          <ac:chgData name="Miraj Sinya" userId="a6e95797-5893-4261-9f10-8f81f198df75" providerId="ADAL" clId="{8472ECB8-F9E0-4601-97F7-CD5843E52E4A}" dt="2023-04-20T01:53:25.839" v="1835" actId="14100"/>
          <ac:spMkLst>
            <pc:docMk/>
            <pc:sldMk cId="1322459214" sldId="637"/>
            <ac:spMk id="68" creationId="{6E0C7ABE-7F51-4787-CBE7-76824C1500CA}"/>
          </ac:spMkLst>
        </pc:spChg>
        <pc:spChg chg="add mod">
          <ac:chgData name="Miraj Sinya" userId="a6e95797-5893-4261-9f10-8f81f198df75" providerId="ADAL" clId="{8472ECB8-F9E0-4601-97F7-CD5843E52E4A}" dt="2023-04-20T01:51:10.985" v="1830" actId="1076"/>
          <ac:spMkLst>
            <pc:docMk/>
            <pc:sldMk cId="1322459214" sldId="637"/>
            <ac:spMk id="70" creationId="{AFC66DAC-69FE-FCB4-8C1C-DE6535E72227}"/>
          </ac:spMkLst>
        </pc:spChg>
        <pc:spChg chg="del">
          <ac:chgData name="Miraj Sinya" userId="a6e95797-5893-4261-9f10-8f81f198df75" providerId="ADAL" clId="{8472ECB8-F9E0-4601-97F7-CD5843E52E4A}" dt="2023-04-19T03:29:00.067" v="459" actId="478"/>
          <ac:spMkLst>
            <pc:docMk/>
            <pc:sldMk cId="1322459214" sldId="637"/>
            <ac:spMk id="76" creationId="{BD17955A-0FD7-C88C-D1CB-6BE426A35C73}"/>
          </ac:spMkLst>
        </pc:spChg>
        <pc:spChg chg="del">
          <ac:chgData name="Miraj Sinya" userId="a6e95797-5893-4261-9f10-8f81f198df75" providerId="ADAL" clId="{8472ECB8-F9E0-4601-97F7-CD5843E52E4A}" dt="2023-04-19T03:29:56.733" v="471" actId="478"/>
          <ac:spMkLst>
            <pc:docMk/>
            <pc:sldMk cId="1322459214" sldId="637"/>
            <ac:spMk id="109" creationId="{DD00B35D-CC45-EA34-2213-1508EC3E50CA}"/>
          </ac:spMkLst>
        </pc:spChg>
        <pc:spChg chg="del">
          <ac:chgData name="Miraj Sinya" userId="a6e95797-5893-4261-9f10-8f81f198df75" providerId="ADAL" clId="{8472ECB8-F9E0-4601-97F7-CD5843E52E4A}" dt="2023-04-19T03:29:57.625" v="472" actId="478"/>
          <ac:spMkLst>
            <pc:docMk/>
            <pc:sldMk cId="1322459214" sldId="637"/>
            <ac:spMk id="113" creationId="{09559653-C2BB-B9BD-ECD2-5E6A21EE869A}"/>
          </ac:spMkLst>
        </pc:spChg>
        <pc:grpChg chg="add del mod">
          <ac:chgData name="Miraj Sinya" userId="a6e95797-5893-4261-9f10-8f81f198df75" providerId="ADAL" clId="{8472ECB8-F9E0-4601-97F7-CD5843E52E4A}" dt="2023-04-20T01:47:28.524" v="1797" actId="165"/>
          <ac:grpSpMkLst>
            <pc:docMk/>
            <pc:sldMk cId="1322459214" sldId="637"/>
            <ac:grpSpMk id="5" creationId="{A3DB073E-5F62-5E42-578E-12865A9DD421}"/>
          </ac:grpSpMkLst>
        </pc:grpChg>
        <pc:grpChg chg="mod ord topLvl">
          <ac:chgData name="Miraj Sinya" userId="a6e95797-5893-4261-9f10-8f81f198df75" providerId="ADAL" clId="{8472ECB8-F9E0-4601-97F7-CD5843E52E4A}" dt="2023-04-20T01:49:13.358" v="1823" actId="1036"/>
          <ac:grpSpMkLst>
            <pc:docMk/>
            <pc:sldMk cId="1322459214" sldId="637"/>
            <ac:grpSpMk id="8" creationId="{02B1EED0-ACBA-2D8B-61A1-60F6880D838D}"/>
          </ac:grpSpMkLst>
        </pc:grpChg>
        <pc:grpChg chg="mod topLvl">
          <ac:chgData name="Miraj Sinya" userId="a6e95797-5893-4261-9f10-8f81f198df75" providerId="ADAL" clId="{8472ECB8-F9E0-4601-97F7-CD5843E52E4A}" dt="2023-04-19T03:57:50.469" v="643" actId="1076"/>
          <ac:grpSpMkLst>
            <pc:docMk/>
            <pc:sldMk cId="1322459214" sldId="637"/>
            <ac:grpSpMk id="27" creationId="{96AFED4A-D2CB-95E6-B565-366060E5CEB7}"/>
          </ac:grpSpMkLst>
        </pc:grpChg>
        <pc:grpChg chg="add mod">
          <ac:chgData name="Miraj Sinya" userId="a6e95797-5893-4261-9f10-8f81f198df75" providerId="ADAL" clId="{8472ECB8-F9E0-4601-97F7-CD5843E52E4A}" dt="2023-04-19T03:49:54.738" v="592" actId="1076"/>
          <ac:grpSpMkLst>
            <pc:docMk/>
            <pc:sldMk cId="1322459214" sldId="637"/>
            <ac:grpSpMk id="36" creationId="{151366DA-F26A-AD3D-68F7-94B315F274D9}"/>
          </ac:grpSpMkLst>
        </pc:grpChg>
        <pc:grpChg chg="mod">
          <ac:chgData name="Miraj Sinya" userId="a6e95797-5893-4261-9f10-8f81f198df75" providerId="ADAL" clId="{8472ECB8-F9E0-4601-97F7-CD5843E52E4A}" dt="2023-04-19T03:30:33.618" v="477"/>
          <ac:grpSpMkLst>
            <pc:docMk/>
            <pc:sldMk cId="1322459214" sldId="637"/>
            <ac:grpSpMk id="37" creationId="{509197BD-2522-8511-057B-6F27DC663F9D}"/>
          </ac:grpSpMkLst>
        </pc:grpChg>
        <pc:grpChg chg="mod">
          <ac:chgData name="Miraj Sinya" userId="a6e95797-5893-4261-9f10-8f81f198df75" providerId="ADAL" clId="{8472ECB8-F9E0-4601-97F7-CD5843E52E4A}" dt="2023-04-19T03:30:33.618" v="477"/>
          <ac:grpSpMkLst>
            <pc:docMk/>
            <pc:sldMk cId="1322459214" sldId="637"/>
            <ac:grpSpMk id="41" creationId="{2089DE81-85B3-F45C-5390-D03C135A945F}"/>
          </ac:grpSpMkLst>
        </pc:grpChg>
        <pc:grpChg chg="mod">
          <ac:chgData name="Miraj Sinya" userId="a6e95797-5893-4261-9f10-8f81f198df75" providerId="ADAL" clId="{8472ECB8-F9E0-4601-97F7-CD5843E52E4A}" dt="2023-04-19T03:30:33.618" v="477"/>
          <ac:grpSpMkLst>
            <pc:docMk/>
            <pc:sldMk cId="1322459214" sldId="637"/>
            <ac:grpSpMk id="43" creationId="{23DCD232-AA3F-9EAF-F57D-06F73E04A983}"/>
          </ac:grpSpMkLst>
        </pc:grpChg>
        <pc:grpChg chg="add mod">
          <ac:chgData name="Miraj Sinya" userId="a6e95797-5893-4261-9f10-8f81f198df75" providerId="ADAL" clId="{8472ECB8-F9E0-4601-97F7-CD5843E52E4A}" dt="2023-04-20T01:51:24.469" v="1832" actId="14100"/>
          <ac:grpSpMkLst>
            <pc:docMk/>
            <pc:sldMk cId="1322459214" sldId="637"/>
            <ac:grpSpMk id="50" creationId="{B331094A-063A-86D2-DEDA-ED95889D7695}"/>
          </ac:grpSpMkLst>
        </pc:grpChg>
        <pc:grpChg chg="del">
          <ac:chgData name="Miraj Sinya" userId="a6e95797-5893-4261-9f10-8f81f198df75" providerId="ADAL" clId="{8472ECB8-F9E0-4601-97F7-CD5843E52E4A}" dt="2023-04-19T03:29:06.911" v="460" actId="165"/>
          <ac:grpSpMkLst>
            <pc:docMk/>
            <pc:sldMk cId="1322459214" sldId="637"/>
            <ac:grpSpMk id="83" creationId="{D23F9434-4C4E-A7B8-9353-BF3133CE5564}"/>
          </ac:grpSpMkLst>
        </pc:grpChg>
        <pc:grpChg chg="del">
          <ac:chgData name="Miraj Sinya" userId="a6e95797-5893-4261-9f10-8f81f198df75" providerId="ADAL" clId="{8472ECB8-F9E0-4601-97F7-CD5843E52E4A}" dt="2023-04-19T03:29:55.049" v="470" actId="478"/>
          <ac:grpSpMkLst>
            <pc:docMk/>
            <pc:sldMk cId="1322459214" sldId="637"/>
            <ac:grpSpMk id="84" creationId="{CC5B771A-FCD9-BCA5-9FD7-1027FEBE500C}"/>
          </ac:grpSpMkLst>
        </pc:grpChg>
        <pc:cxnChg chg="add mod">
          <ac:chgData name="Miraj Sinya" userId="a6e95797-5893-4261-9f10-8f81f198df75" providerId="ADAL" clId="{8472ECB8-F9E0-4601-97F7-CD5843E52E4A}" dt="2023-04-20T01:49:11.140" v="1818" actId="14100"/>
          <ac:cxnSpMkLst>
            <pc:docMk/>
            <pc:sldMk cId="1322459214" sldId="637"/>
            <ac:cxnSpMk id="34" creationId="{742ECF36-2E3D-480F-611F-F7209DF0209D}"/>
          </ac:cxnSpMkLst>
        </pc:cxnChg>
        <pc:cxnChg chg="mod topLvl">
          <ac:chgData name="Miraj Sinya" userId="a6e95797-5893-4261-9f10-8f81f198df75" providerId="ADAL" clId="{8472ECB8-F9E0-4601-97F7-CD5843E52E4A}" dt="2023-04-20T01:51:24.469" v="1832" actId="14100"/>
          <ac:cxnSpMkLst>
            <pc:docMk/>
            <pc:sldMk cId="1322459214" sldId="637"/>
            <ac:cxnSpMk id="38" creationId="{52BAC6E2-3069-723B-65E4-DAB79C6A16EA}"/>
          </ac:cxnSpMkLst>
        </pc:cxnChg>
        <pc:cxnChg chg="mod">
          <ac:chgData name="Miraj Sinya" userId="a6e95797-5893-4261-9f10-8f81f198df75" providerId="ADAL" clId="{8472ECB8-F9E0-4601-97F7-CD5843E52E4A}" dt="2023-04-19T03:30:33.618" v="477"/>
          <ac:cxnSpMkLst>
            <pc:docMk/>
            <pc:sldMk cId="1322459214" sldId="637"/>
            <ac:cxnSpMk id="40" creationId="{02CD6AEF-C591-8DE0-6EFC-C6FA0F1814DE}"/>
          </ac:cxnSpMkLst>
        </pc:cxnChg>
        <pc:cxnChg chg="mod">
          <ac:chgData name="Miraj Sinya" userId="a6e95797-5893-4261-9f10-8f81f198df75" providerId="ADAL" clId="{8472ECB8-F9E0-4601-97F7-CD5843E52E4A}" dt="2023-04-19T03:30:33.618" v="477"/>
          <ac:cxnSpMkLst>
            <pc:docMk/>
            <pc:sldMk cId="1322459214" sldId="637"/>
            <ac:cxnSpMk id="42" creationId="{2474DD55-D885-7FEA-D872-674845913D54}"/>
          </ac:cxnSpMkLst>
        </pc:cxnChg>
        <pc:cxnChg chg="mod topLvl">
          <ac:chgData name="Miraj Sinya" userId="a6e95797-5893-4261-9f10-8f81f198df75" providerId="ADAL" clId="{8472ECB8-F9E0-4601-97F7-CD5843E52E4A}" dt="2023-04-20T01:49:31.303" v="1825" actId="1076"/>
          <ac:cxnSpMkLst>
            <pc:docMk/>
            <pc:sldMk cId="1322459214" sldId="637"/>
            <ac:cxnSpMk id="54" creationId="{E4DE0798-B7E4-7FB2-619C-586E02D54A9D}"/>
          </ac:cxnSpMkLst>
        </pc:cxnChg>
        <pc:cxnChg chg="mod topLvl">
          <ac:chgData name="Miraj Sinya" userId="a6e95797-5893-4261-9f10-8f81f198df75" providerId="ADAL" clId="{8472ECB8-F9E0-4601-97F7-CD5843E52E4A}" dt="2023-04-20T01:51:24.469" v="1832" actId="14100"/>
          <ac:cxnSpMkLst>
            <pc:docMk/>
            <pc:sldMk cId="1322459214" sldId="637"/>
            <ac:cxnSpMk id="69" creationId="{66DB3596-D345-F1E8-A7C4-72C2A9DE2A7F}"/>
          </ac:cxnSpMkLst>
        </pc:cxnChg>
        <pc:cxnChg chg="mod topLvl">
          <ac:chgData name="Miraj Sinya" userId="a6e95797-5893-4261-9f10-8f81f198df75" providerId="ADAL" clId="{8472ECB8-F9E0-4601-97F7-CD5843E52E4A}" dt="2023-04-20T01:49:41.495" v="1826" actId="14100"/>
          <ac:cxnSpMkLst>
            <pc:docMk/>
            <pc:sldMk cId="1322459214" sldId="637"/>
            <ac:cxnSpMk id="79" creationId="{68DED0EF-D3FB-0D26-947C-3448AE11F07D}"/>
          </ac:cxnSpMkLst>
        </pc:cxnChg>
      </pc:sldChg>
      <pc:sldChg chg="addSp modSp new mod">
        <pc:chgData name="Miraj Sinya" userId="a6e95797-5893-4261-9f10-8f81f198df75" providerId="ADAL" clId="{8472ECB8-F9E0-4601-97F7-CD5843E52E4A}" dt="2023-04-20T01:58:29.086" v="1861" actId="14100"/>
        <pc:sldMkLst>
          <pc:docMk/>
          <pc:sldMk cId="1532578159" sldId="638"/>
        </pc:sldMkLst>
        <pc:spChg chg="mod">
          <ac:chgData name="Miraj Sinya" userId="a6e95797-5893-4261-9f10-8f81f198df75" providerId="ADAL" clId="{8472ECB8-F9E0-4601-97F7-CD5843E52E4A}" dt="2023-04-20T01:26:33.665" v="1260" actId="20577"/>
          <ac:spMkLst>
            <pc:docMk/>
            <pc:sldMk cId="1532578159" sldId="638"/>
            <ac:spMk id="2" creationId="{0DA69BAD-A0C7-1B08-E0B7-70BEDCD489DF}"/>
          </ac:spMkLst>
        </pc:spChg>
        <pc:spChg chg="add mod">
          <ac:chgData name="Miraj Sinya" userId="a6e95797-5893-4261-9f10-8f81f198df75" providerId="ADAL" clId="{8472ECB8-F9E0-4601-97F7-CD5843E52E4A}" dt="2023-04-20T01:58:29.086" v="1861" actId="14100"/>
          <ac:spMkLst>
            <pc:docMk/>
            <pc:sldMk cId="1532578159" sldId="638"/>
            <ac:spMk id="3" creationId="{83CAA434-6EE9-F190-219D-FF24E6B29FF1}"/>
          </ac:spMkLst>
        </pc:spChg>
      </pc:sldChg>
    </pc:docChg>
  </pc:docChgLst>
  <pc:docChgLst>
    <pc:chgData name="Auradee Castro" userId="5b47d84d-e816-421d-a9bd-ea845bdedce9" providerId="ADAL" clId="{1932EABC-6A65-42BB-B401-660E24DD0AB8}"/>
    <pc:docChg chg="undo redo custSel addSld delSld modSld sldOrd">
      <pc:chgData name="Auradee Castro" userId="5b47d84d-e816-421d-a9bd-ea845bdedce9" providerId="ADAL" clId="{1932EABC-6A65-42BB-B401-660E24DD0AB8}" dt="2023-04-20T03:00:54.779" v="4003" actId="2710"/>
      <pc:docMkLst>
        <pc:docMk/>
      </pc:docMkLst>
      <pc:sldChg chg="modSp mod">
        <pc:chgData name="Auradee Castro" userId="5b47d84d-e816-421d-a9bd-ea845bdedce9" providerId="ADAL" clId="{1932EABC-6A65-42BB-B401-660E24DD0AB8}" dt="2023-04-19T05:24:28.400" v="3836" actId="20577"/>
        <pc:sldMkLst>
          <pc:docMk/>
          <pc:sldMk cId="3394563635" sldId="581"/>
        </pc:sldMkLst>
        <pc:spChg chg="mod">
          <ac:chgData name="Auradee Castro" userId="5b47d84d-e816-421d-a9bd-ea845bdedce9" providerId="ADAL" clId="{1932EABC-6A65-42BB-B401-660E24DD0AB8}" dt="2023-04-19T05:24:28.400" v="3836" actId="20577"/>
          <ac:spMkLst>
            <pc:docMk/>
            <pc:sldMk cId="3394563635" sldId="581"/>
            <ac:spMk id="4" creationId="{B9F7AAA0-6D2F-909C-1E50-4F93904827DA}"/>
          </ac:spMkLst>
        </pc:spChg>
      </pc:sldChg>
      <pc:sldChg chg="modSp mod">
        <pc:chgData name="Auradee Castro" userId="5b47d84d-e816-421d-a9bd-ea845bdedce9" providerId="ADAL" clId="{1932EABC-6A65-42BB-B401-660E24DD0AB8}" dt="2023-04-18T22:26:50.072" v="3746" actId="20577"/>
        <pc:sldMkLst>
          <pc:docMk/>
          <pc:sldMk cId="1556697206" sldId="607"/>
        </pc:sldMkLst>
        <pc:spChg chg="mod">
          <ac:chgData name="Auradee Castro" userId="5b47d84d-e816-421d-a9bd-ea845bdedce9" providerId="ADAL" clId="{1932EABC-6A65-42BB-B401-660E24DD0AB8}" dt="2023-04-18T22:26:50.072" v="3746" actId="20577"/>
          <ac:spMkLst>
            <pc:docMk/>
            <pc:sldMk cId="1556697206" sldId="607"/>
            <ac:spMk id="75" creationId="{C2B09971-54AF-516E-27D8-123A99FDEABA}"/>
          </ac:spMkLst>
        </pc:spChg>
      </pc:sldChg>
      <pc:sldChg chg="add del">
        <pc:chgData name="Auradee Castro" userId="5b47d84d-e816-421d-a9bd-ea845bdedce9" providerId="ADAL" clId="{1932EABC-6A65-42BB-B401-660E24DD0AB8}" dt="2023-04-18T17:24:43.289" v="2"/>
        <pc:sldMkLst>
          <pc:docMk/>
          <pc:sldMk cId="878837709" sldId="612"/>
        </pc:sldMkLst>
      </pc:sldChg>
      <pc:sldChg chg="delSp modSp mod">
        <pc:chgData name="Auradee Castro" userId="5b47d84d-e816-421d-a9bd-ea845bdedce9" providerId="ADAL" clId="{1932EABC-6A65-42BB-B401-660E24DD0AB8}" dt="2023-04-19T02:03:18.491" v="3786" actId="108"/>
        <pc:sldMkLst>
          <pc:docMk/>
          <pc:sldMk cId="2524774510" sldId="613"/>
        </pc:sldMkLst>
        <pc:spChg chg="del">
          <ac:chgData name="Auradee Castro" userId="5b47d84d-e816-421d-a9bd-ea845bdedce9" providerId="ADAL" clId="{1932EABC-6A65-42BB-B401-660E24DD0AB8}" dt="2023-04-19T02:00:51.396" v="3751" actId="478"/>
          <ac:spMkLst>
            <pc:docMk/>
            <pc:sldMk cId="2524774510" sldId="613"/>
            <ac:spMk id="9" creationId="{2BBF528D-8DE3-6D80-1E4F-E7B77E84D140}"/>
          </ac:spMkLst>
        </pc:spChg>
        <pc:spChg chg="mod">
          <ac:chgData name="Auradee Castro" userId="5b47d84d-e816-421d-a9bd-ea845bdedce9" providerId="ADAL" clId="{1932EABC-6A65-42BB-B401-660E24DD0AB8}" dt="2023-04-19T02:03:18.491" v="3786" actId="108"/>
          <ac:spMkLst>
            <pc:docMk/>
            <pc:sldMk cId="2524774510" sldId="613"/>
            <ac:spMk id="12" creationId="{FE7A8754-1D17-CAE0-CE0A-967A1EB9AFAF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3" creationId="{6960C97D-C254-5AED-AD73-3CEA2327AA91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4" creationId="{D8F8D58D-1E37-5616-F4E4-A3A1C455860A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6" creationId="{167C3EA3-64D3-8A95-6738-7A356990E4BB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7" creationId="{3E86B7E6-129E-B1E4-6FBC-909C171DD2BD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9" creationId="{1F541673-A766-D3D7-A666-A4C68D414F42}"/>
          </ac:spMkLst>
        </pc:spChg>
        <pc:spChg chg="mod">
          <ac:chgData name="Auradee Castro" userId="5b47d84d-e816-421d-a9bd-ea845bdedce9" providerId="ADAL" clId="{1932EABC-6A65-42BB-B401-660E24DD0AB8}" dt="2023-04-18T17:29:17.825" v="100"/>
          <ac:spMkLst>
            <pc:docMk/>
            <pc:sldMk cId="2524774510" sldId="613"/>
            <ac:spMk id="24" creationId="{600981A4-1803-0ACC-3CB6-9B7E72CAFCF8}"/>
          </ac:spMkLst>
        </pc:spChg>
        <pc:spChg chg="mod">
          <ac:chgData name="Auradee Castro" userId="5b47d84d-e816-421d-a9bd-ea845bdedce9" providerId="ADAL" clId="{1932EABC-6A65-42BB-B401-660E24DD0AB8}" dt="2023-04-19T02:00:45.072" v="3750" actId="108"/>
          <ac:spMkLst>
            <pc:docMk/>
            <pc:sldMk cId="2524774510" sldId="613"/>
            <ac:spMk id="100" creationId="{0253B519-D2FB-F483-33AD-851272BFB9B2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12" creationId="{F09BD068-078A-813A-60FB-2B9DD9BCC48C}"/>
          </ac:spMkLst>
        </pc:spChg>
        <pc:spChg chg="mod">
          <ac:chgData name="Auradee Castro" userId="5b47d84d-e816-421d-a9bd-ea845bdedce9" providerId="ADAL" clId="{1932EABC-6A65-42BB-B401-660E24DD0AB8}" dt="2023-04-19T02:01:03.702" v="3784" actId="1035"/>
          <ac:spMkLst>
            <pc:docMk/>
            <pc:sldMk cId="2524774510" sldId="613"/>
            <ac:spMk id="116" creationId="{50A11298-8527-5AAE-6178-B539505C1461}"/>
          </ac:spMkLst>
        </pc:s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20" creationId="{6B2346EF-EC9B-6F69-6F99-F7D10D4C2203}"/>
          </ac:grpSpMkLst>
        </pc:gr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23" creationId="{B5A6B671-3D95-2E85-FB81-F1D75852F38E}"/>
          </ac:grpSpMkLst>
        </pc:gr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82" creationId="{FE1D9C3A-EA89-E00F-2215-08298B0AEED7}"/>
          </ac:grpSpMkLst>
        </pc:gr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88" creationId="{C03DE942-D2BF-B8CB-D2E1-6ECD7998BB24}"/>
          </ac:grpSpMkLst>
        </pc:gr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101" creationId="{07DC8A5F-FDAE-3D73-F1D8-C5FD4743392E}"/>
          </ac:grpSpMkLst>
        </pc:grpChg>
        <pc:grpChg chg="mod">
          <ac:chgData name="Auradee Castro" userId="5b47d84d-e816-421d-a9bd-ea845bdedce9" providerId="ADAL" clId="{1932EABC-6A65-42BB-B401-660E24DD0AB8}" dt="2023-04-19T02:01:03.702" v="3784" actId="1035"/>
          <ac:grpSpMkLst>
            <pc:docMk/>
            <pc:sldMk cId="2524774510" sldId="613"/>
            <ac:grpSpMk id="129" creationId="{BEF3D7FA-B438-8699-1A9F-67BED875526F}"/>
          </ac:grpSpMkLst>
        </pc:grpChg>
        <pc:cxnChg chg="mod">
          <ac:chgData name="Auradee Castro" userId="5b47d84d-e816-421d-a9bd-ea845bdedce9" providerId="ADAL" clId="{1932EABC-6A65-42BB-B401-660E24DD0AB8}" dt="2023-04-19T02:01:03.702" v="3784" actId="1035"/>
          <ac:cxnSpMkLst>
            <pc:docMk/>
            <pc:sldMk cId="2524774510" sldId="613"/>
            <ac:cxnSpMk id="15" creationId="{48B2C8EC-7BB0-6BE4-5058-F8275E640070}"/>
          </ac:cxnSpMkLst>
        </pc:cxnChg>
        <pc:cxnChg chg="mod">
          <ac:chgData name="Auradee Castro" userId="5b47d84d-e816-421d-a9bd-ea845bdedce9" providerId="ADAL" clId="{1932EABC-6A65-42BB-B401-660E24DD0AB8}" dt="2023-04-19T02:01:03.702" v="3784" actId="1035"/>
          <ac:cxnSpMkLst>
            <pc:docMk/>
            <pc:sldMk cId="2524774510" sldId="613"/>
            <ac:cxnSpMk id="18" creationId="{133FE64F-9467-00A4-2DCB-DF4196653732}"/>
          </ac:cxnSpMkLst>
        </pc:cxnChg>
        <pc:cxnChg chg="mod">
          <ac:chgData name="Auradee Castro" userId="5b47d84d-e816-421d-a9bd-ea845bdedce9" providerId="ADAL" clId="{1932EABC-6A65-42BB-B401-660E24DD0AB8}" dt="2023-04-19T02:01:03.702" v="3784" actId="1035"/>
          <ac:cxnSpMkLst>
            <pc:docMk/>
            <pc:sldMk cId="2524774510" sldId="613"/>
            <ac:cxnSpMk id="90" creationId="{66D57CB2-FD4F-4E75-109A-2F684618298F}"/>
          </ac:cxnSpMkLst>
        </pc:cxnChg>
        <pc:cxnChg chg="mod">
          <ac:chgData name="Auradee Castro" userId="5b47d84d-e816-421d-a9bd-ea845bdedce9" providerId="ADAL" clId="{1932EABC-6A65-42BB-B401-660E24DD0AB8}" dt="2023-04-19T02:01:03.702" v="3784" actId="1035"/>
          <ac:cxnSpMkLst>
            <pc:docMk/>
            <pc:sldMk cId="2524774510" sldId="613"/>
            <ac:cxnSpMk id="104" creationId="{783CCCC9-1071-8CE4-1304-92D9104F418A}"/>
          </ac:cxnSpMkLst>
        </pc:cxnChg>
      </pc:sldChg>
      <pc:sldChg chg="modSp mod">
        <pc:chgData name="Auradee Castro" userId="5b47d84d-e816-421d-a9bd-ea845bdedce9" providerId="ADAL" clId="{1932EABC-6A65-42BB-B401-660E24DD0AB8}" dt="2023-04-19T01:56:15.912" v="3749" actId="1037"/>
        <pc:sldMkLst>
          <pc:docMk/>
          <pc:sldMk cId="2279341814" sldId="614"/>
        </pc:sldMkLst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19" creationId="{E6A0ABD2-A0EA-B02B-BBEA-7BBE42153708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20" creationId="{255F3863-A5DE-774A-C7C2-464F4C4ECA0F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22" creationId="{C8E6FA15-115D-6625-F13F-AE5C98636E36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23" creationId="{209141E3-8D4F-0C55-B703-383AE7B240F1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31" creationId="{F34F7A7E-43AE-30DD-1867-F687059496D9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32" creationId="{52582686-07E0-ABD1-1DD0-EED7B6E2E468}"/>
          </ac:spMkLst>
        </pc:spChg>
        <pc:spChg chg="mod">
          <ac:chgData name="Auradee Castro" userId="5b47d84d-e816-421d-a9bd-ea845bdedce9" providerId="ADAL" clId="{1932EABC-6A65-42BB-B401-660E24DD0AB8}" dt="2023-04-19T01:54:51.878" v="3748" actId="255"/>
          <ac:spMkLst>
            <pc:docMk/>
            <pc:sldMk cId="2279341814" sldId="614"/>
            <ac:spMk id="66" creationId="{5F0EA7B8-78D8-D1B7-DEEC-D20BD0B900F1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87" creationId="{D6B714E4-E1F9-3762-237B-78ADF32CD299}"/>
          </ac:spMkLst>
        </pc:spChg>
        <pc:spChg chg="mod">
          <ac:chgData name="Auradee Castro" userId="5b47d84d-e816-421d-a9bd-ea845bdedce9" providerId="ADAL" clId="{1932EABC-6A65-42BB-B401-660E24DD0AB8}" dt="2023-04-19T01:56:15.912" v="3749" actId="1037"/>
          <ac:spMkLst>
            <pc:docMk/>
            <pc:sldMk cId="2279341814" sldId="614"/>
            <ac:spMk id="88" creationId="{2AFBA731-73C7-E96E-16DA-58BCCF46A2ED}"/>
          </ac:spMkLst>
        </pc:spChg>
        <pc:grpChg chg="mod">
          <ac:chgData name="Auradee Castro" userId="5b47d84d-e816-421d-a9bd-ea845bdedce9" providerId="ADAL" clId="{1932EABC-6A65-42BB-B401-660E24DD0AB8}" dt="2023-04-19T01:56:15.912" v="3749" actId="1037"/>
          <ac:grpSpMkLst>
            <pc:docMk/>
            <pc:sldMk cId="2279341814" sldId="614"/>
            <ac:grpSpMk id="18" creationId="{5A1C53FA-E3A2-A03E-86FD-C1E8F9C27646}"/>
          </ac:grpSpMkLst>
        </pc:grpChg>
        <pc:grpChg chg="mod">
          <ac:chgData name="Auradee Castro" userId="5b47d84d-e816-421d-a9bd-ea845bdedce9" providerId="ADAL" clId="{1932EABC-6A65-42BB-B401-660E24DD0AB8}" dt="2023-04-19T01:56:15.912" v="3749" actId="1037"/>
          <ac:grpSpMkLst>
            <pc:docMk/>
            <pc:sldMk cId="2279341814" sldId="614"/>
            <ac:grpSpMk id="21" creationId="{908FD350-913D-B1EF-9D7C-39844DACAF50}"/>
          </ac:grpSpMkLst>
        </pc:grpChg>
        <pc:grpChg chg="mod">
          <ac:chgData name="Auradee Castro" userId="5b47d84d-e816-421d-a9bd-ea845bdedce9" providerId="ADAL" clId="{1932EABC-6A65-42BB-B401-660E24DD0AB8}" dt="2023-04-19T01:56:15.912" v="3749" actId="1037"/>
          <ac:grpSpMkLst>
            <pc:docMk/>
            <pc:sldMk cId="2279341814" sldId="614"/>
            <ac:grpSpMk id="29" creationId="{E3E17FB9-383B-FD05-337B-32138CB104AF}"/>
          </ac:grpSpMkLst>
        </pc:grpChg>
        <pc:grpChg chg="mod">
          <ac:chgData name="Auradee Castro" userId="5b47d84d-e816-421d-a9bd-ea845bdedce9" providerId="ADAL" clId="{1932EABC-6A65-42BB-B401-660E24DD0AB8}" dt="2023-04-19T01:56:15.912" v="3749" actId="1037"/>
          <ac:grpSpMkLst>
            <pc:docMk/>
            <pc:sldMk cId="2279341814" sldId="614"/>
            <ac:grpSpMk id="30" creationId="{F059CEB1-A212-A79A-6A8F-176B4B6F4E1A}"/>
          </ac:grpSpMkLst>
        </pc:grpChg>
        <pc:grpChg chg="mod">
          <ac:chgData name="Auradee Castro" userId="5b47d84d-e816-421d-a9bd-ea845bdedce9" providerId="ADAL" clId="{1932EABC-6A65-42BB-B401-660E24DD0AB8}" dt="2023-04-19T01:56:15.912" v="3749" actId="1037"/>
          <ac:grpSpMkLst>
            <pc:docMk/>
            <pc:sldMk cId="2279341814" sldId="614"/>
            <ac:grpSpMk id="86" creationId="{DF8B24CF-92A8-300A-D37A-9E4275E1CECE}"/>
          </ac:grpSpMkLst>
        </pc:grpChg>
        <pc:cxnChg chg="mod">
          <ac:chgData name="Auradee Castro" userId="5b47d84d-e816-421d-a9bd-ea845bdedce9" providerId="ADAL" clId="{1932EABC-6A65-42BB-B401-660E24DD0AB8}" dt="2023-04-19T01:56:15.912" v="3749" actId="1037"/>
          <ac:cxnSpMkLst>
            <pc:docMk/>
            <pc:sldMk cId="2279341814" sldId="614"/>
            <ac:cxnSpMk id="11" creationId="{59CCCB6D-E1B6-FD20-C76C-03A3D9CE576A}"/>
          </ac:cxnSpMkLst>
        </pc:cxnChg>
        <pc:cxnChg chg="mod">
          <ac:chgData name="Auradee Castro" userId="5b47d84d-e816-421d-a9bd-ea845bdedce9" providerId="ADAL" clId="{1932EABC-6A65-42BB-B401-660E24DD0AB8}" dt="2023-04-19T01:56:15.912" v="3749" actId="1037"/>
          <ac:cxnSpMkLst>
            <pc:docMk/>
            <pc:sldMk cId="2279341814" sldId="614"/>
            <ac:cxnSpMk id="43" creationId="{A6A5E955-0304-E77D-8693-0357AD4786F4}"/>
          </ac:cxnSpMkLst>
        </pc:cxnChg>
        <pc:cxnChg chg="mod">
          <ac:chgData name="Auradee Castro" userId="5b47d84d-e816-421d-a9bd-ea845bdedce9" providerId="ADAL" clId="{1932EABC-6A65-42BB-B401-660E24DD0AB8}" dt="2023-04-19T01:54:51.878" v="3748" actId="255"/>
          <ac:cxnSpMkLst>
            <pc:docMk/>
            <pc:sldMk cId="2279341814" sldId="614"/>
            <ac:cxnSpMk id="48" creationId="{96197FC9-4EEB-D3A1-332E-EBE0A62ADBB2}"/>
          </ac:cxnSpMkLst>
        </pc:cxnChg>
        <pc:cxnChg chg="mod">
          <ac:chgData name="Auradee Castro" userId="5b47d84d-e816-421d-a9bd-ea845bdedce9" providerId="ADAL" clId="{1932EABC-6A65-42BB-B401-660E24DD0AB8}" dt="2023-04-19T01:56:15.912" v="3749" actId="1037"/>
          <ac:cxnSpMkLst>
            <pc:docMk/>
            <pc:sldMk cId="2279341814" sldId="614"/>
            <ac:cxnSpMk id="96" creationId="{5D14DEC2-8A8A-A670-9422-3A2C4F076FDA}"/>
          </ac:cxnSpMkLst>
        </pc:cxnChg>
        <pc:cxnChg chg="mod">
          <ac:chgData name="Auradee Castro" userId="5b47d84d-e816-421d-a9bd-ea845bdedce9" providerId="ADAL" clId="{1932EABC-6A65-42BB-B401-660E24DD0AB8}" dt="2023-04-19T01:56:15.912" v="3749" actId="1037"/>
          <ac:cxnSpMkLst>
            <pc:docMk/>
            <pc:sldMk cId="2279341814" sldId="614"/>
            <ac:cxnSpMk id="97" creationId="{CB286FAB-0DCC-858E-D06C-A2EC1EBC0914}"/>
          </ac:cxnSpMkLst>
        </pc:cxnChg>
      </pc:sldChg>
      <pc:sldChg chg="del">
        <pc:chgData name="Auradee Castro" userId="5b47d84d-e816-421d-a9bd-ea845bdedce9" providerId="ADAL" clId="{1932EABC-6A65-42BB-B401-660E24DD0AB8}" dt="2023-04-18T17:27:20.537" v="55" actId="47"/>
        <pc:sldMkLst>
          <pc:docMk/>
          <pc:sldMk cId="4233907682" sldId="616"/>
        </pc:sldMkLst>
      </pc:sldChg>
      <pc:sldChg chg="addSp delSp modSp mod">
        <pc:chgData name="Auradee Castro" userId="5b47d84d-e816-421d-a9bd-ea845bdedce9" providerId="ADAL" clId="{1932EABC-6A65-42BB-B401-660E24DD0AB8}" dt="2023-04-20T00:35:39.791" v="3938" actId="207"/>
        <pc:sldMkLst>
          <pc:docMk/>
          <pc:sldMk cId="3226856182" sldId="618"/>
        </pc:sldMkLst>
        <pc:spChg chg="mod">
          <ac:chgData name="Auradee Castro" userId="5b47d84d-e816-421d-a9bd-ea845bdedce9" providerId="ADAL" clId="{1932EABC-6A65-42BB-B401-660E24DD0AB8}" dt="2023-04-19T19:57:02.426" v="3890" actId="20577"/>
          <ac:spMkLst>
            <pc:docMk/>
            <pc:sldMk cId="3226856182" sldId="618"/>
            <ac:spMk id="2" creationId="{8F9128BC-1D37-66AB-858A-60235B0D02F9}"/>
          </ac:spMkLst>
        </pc:spChg>
        <pc:spChg chg="add del mod">
          <ac:chgData name="Auradee Castro" userId="5b47d84d-e816-421d-a9bd-ea845bdedce9" providerId="ADAL" clId="{1932EABC-6A65-42BB-B401-660E24DD0AB8}" dt="2023-04-18T21:57:04.168" v="2740" actId="478"/>
          <ac:spMkLst>
            <pc:docMk/>
            <pc:sldMk cId="3226856182" sldId="618"/>
            <ac:spMk id="3" creationId="{68E8A6F2-601A-2879-BE8E-2B3F653649AD}"/>
          </ac:spMkLst>
        </pc:spChg>
        <pc:spChg chg="mod">
          <ac:chgData name="Auradee Castro" userId="5b47d84d-e816-421d-a9bd-ea845bdedce9" providerId="ADAL" clId="{1932EABC-6A65-42BB-B401-660E24DD0AB8}" dt="2023-04-19T21:39:10.787" v="3934" actId="208"/>
          <ac:spMkLst>
            <pc:docMk/>
            <pc:sldMk cId="3226856182" sldId="618"/>
            <ac:spMk id="4" creationId="{781F5D65-5C52-FF4F-299B-A4DBB47A9152}"/>
          </ac:spMkLst>
        </pc:spChg>
        <pc:spChg chg="add del mod">
          <ac:chgData name="Auradee Castro" userId="5b47d84d-e816-421d-a9bd-ea845bdedce9" providerId="ADAL" clId="{1932EABC-6A65-42BB-B401-660E24DD0AB8}" dt="2023-04-18T21:57:02.779" v="2739" actId="478"/>
          <ac:spMkLst>
            <pc:docMk/>
            <pc:sldMk cId="3226856182" sldId="618"/>
            <ac:spMk id="4" creationId="{DC20EBD2-85E3-979C-6820-47EBB8C27E0F}"/>
          </ac:spMkLst>
        </pc:spChg>
        <pc:spChg chg="add del mod">
          <ac:chgData name="Auradee Castro" userId="5b47d84d-e816-421d-a9bd-ea845bdedce9" providerId="ADAL" clId="{1932EABC-6A65-42BB-B401-660E24DD0AB8}" dt="2023-04-18T21:38:04.545" v="2043" actId="21"/>
          <ac:spMkLst>
            <pc:docMk/>
            <pc:sldMk cId="3226856182" sldId="618"/>
            <ac:spMk id="5" creationId="{5E1E8277-7CFE-130D-9F11-C00B56415DD0}"/>
          </ac:spMkLst>
        </pc:spChg>
        <pc:spChg chg="add del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6" creationId="{41D98DD2-69AF-FC0F-EE31-11EF2A104D2B}"/>
          </ac:spMkLst>
        </pc:spChg>
        <pc:spChg chg="add del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7" creationId="{061A4B7B-4CCB-2720-B21D-0565F1CC2DB8}"/>
          </ac:spMkLst>
        </pc:spChg>
        <pc:spChg chg="add del mod">
          <ac:chgData name="Auradee Castro" userId="5b47d84d-e816-421d-a9bd-ea845bdedce9" providerId="ADAL" clId="{1932EABC-6A65-42BB-B401-660E24DD0AB8}" dt="2023-04-18T18:31:06.206" v="1951" actId="478"/>
          <ac:spMkLst>
            <pc:docMk/>
            <pc:sldMk cId="3226856182" sldId="618"/>
            <ac:spMk id="9" creationId="{2BBF528D-8DE3-6D80-1E4F-E7B77E84D140}"/>
          </ac:spMkLst>
        </pc:spChg>
        <pc:spChg chg="add del mod">
          <ac:chgData name="Auradee Castro" userId="5b47d84d-e816-421d-a9bd-ea845bdedce9" providerId="ADAL" clId="{1932EABC-6A65-42BB-B401-660E24DD0AB8}" dt="2023-04-18T22:08:11.979" v="3178" actId="478"/>
          <ac:spMkLst>
            <pc:docMk/>
            <pc:sldMk cId="3226856182" sldId="618"/>
            <ac:spMk id="12" creationId="{6344B46E-AEBA-6CB1-4584-2D3B553D2C00}"/>
          </ac:spMkLst>
        </pc:spChg>
        <pc:spChg chg="add del mod">
          <ac:chgData name="Auradee Castro" userId="5b47d84d-e816-421d-a9bd-ea845bdedce9" providerId="ADAL" clId="{1932EABC-6A65-42BB-B401-660E24DD0AB8}" dt="2023-04-18T21:57:05.520" v="2741" actId="478"/>
          <ac:spMkLst>
            <pc:docMk/>
            <pc:sldMk cId="3226856182" sldId="618"/>
            <ac:spMk id="14" creationId="{A6FA6806-5C2C-D630-1E37-E28BD78A9E7B}"/>
          </ac:spMkLst>
        </pc:spChg>
        <pc:spChg chg="add del mod">
          <ac:chgData name="Auradee Castro" userId="5b47d84d-e816-421d-a9bd-ea845bdedce9" providerId="ADAL" clId="{1932EABC-6A65-42BB-B401-660E24DD0AB8}" dt="2023-04-18T21:57:06.723" v="2742" actId="478"/>
          <ac:spMkLst>
            <pc:docMk/>
            <pc:sldMk cId="3226856182" sldId="618"/>
            <ac:spMk id="16" creationId="{0FABB277-2D2F-CE12-A710-2574061440F4}"/>
          </ac:spMkLst>
        </pc:spChg>
        <pc:spChg chg="add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17" creationId="{24246A2D-64B5-0CDD-D8BC-FDB7DB932EFE}"/>
          </ac:spMkLst>
        </pc:spChg>
        <pc:spChg chg="add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18" creationId="{A3A122DC-37D8-095E-1CDC-E47346F1EDE7}"/>
          </ac:spMkLst>
        </pc:spChg>
        <pc:spChg chg="add mod">
          <ac:chgData name="Auradee Castro" userId="5b47d84d-e816-421d-a9bd-ea845bdedce9" providerId="ADAL" clId="{1932EABC-6A65-42BB-B401-660E24DD0AB8}" dt="2023-04-18T21:58:26.326" v="2782" actId="571"/>
          <ac:spMkLst>
            <pc:docMk/>
            <pc:sldMk cId="3226856182" sldId="618"/>
            <ac:spMk id="19" creationId="{3547940A-4552-19FF-28F6-6619CF7F78D7}"/>
          </ac:spMkLst>
        </pc:spChg>
        <pc:spChg chg="mod">
          <ac:chgData name="Auradee Castro" userId="5b47d84d-e816-421d-a9bd-ea845bdedce9" providerId="ADAL" clId="{1932EABC-6A65-42BB-B401-660E24DD0AB8}" dt="2023-04-19T20:01:53.929" v="3927" actId="20577"/>
          <ac:spMkLst>
            <pc:docMk/>
            <pc:sldMk cId="3226856182" sldId="618"/>
            <ac:spMk id="21" creationId="{C9499847-F8DF-A119-DA3A-92ED3B09371E}"/>
          </ac:spMkLst>
        </pc:spChg>
        <pc:spChg chg="mod">
          <ac:chgData name="Auradee Castro" userId="5b47d84d-e816-421d-a9bd-ea845bdedce9" providerId="ADAL" clId="{1932EABC-6A65-42BB-B401-660E24DD0AB8}" dt="2023-04-19T20:01:50.158" v="3926" actId="20577"/>
          <ac:spMkLst>
            <pc:docMk/>
            <pc:sldMk cId="3226856182" sldId="618"/>
            <ac:spMk id="24" creationId="{600981A4-1803-0ACC-3CB6-9B7E72CAFCF8}"/>
          </ac:spMkLst>
        </pc:spChg>
        <pc:spChg chg="add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26" creationId="{50D07DD2-9DED-E138-AC29-E19972BE20A0}"/>
          </ac:spMkLst>
        </pc:spChg>
        <pc:spChg chg="add mod">
          <ac:chgData name="Auradee Castro" userId="5b47d84d-e816-421d-a9bd-ea845bdedce9" providerId="ADAL" clId="{1932EABC-6A65-42BB-B401-660E24DD0AB8}" dt="2023-04-19T15:50:13.059" v="3853" actId="1036"/>
          <ac:spMkLst>
            <pc:docMk/>
            <pc:sldMk cId="3226856182" sldId="618"/>
            <ac:spMk id="28" creationId="{B0F0538F-B7A6-CEAF-13A6-4A460028DB39}"/>
          </ac:spMkLst>
        </pc:spChg>
        <pc:spChg chg="add mod">
          <ac:chgData name="Auradee Castro" userId="5b47d84d-e816-421d-a9bd-ea845bdedce9" providerId="ADAL" clId="{1932EABC-6A65-42BB-B401-660E24DD0AB8}" dt="2023-04-19T20:01:56.519" v="3928" actId="20577"/>
          <ac:spMkLst>
            <pc:docMk/>
            <pc:sldMk cId="3226856182" sldId="618"/>
            <ac:spMk id="41" creationId="{1B9A024A-9A36-8CF6-43A2-5D44C0027D3F}"/>
          </ac:spMkLst>
        </pc:spChg>
        <pc:spChg chg="add mod ord">
          <ac:chgData name="Auradee Castro" userId="5b47d84d-e816-421d-a9bd-ea845bdedce9" providerId="ADAL" clId="{1932EABC-6A65-42BB-B401-660E24DD0AB8}" dt="2023-04-18T22:24:13.994" v="3653" actId="164"/>
          <ac:spMkLst>
            <pc:docMk/>
            <pc:sldMk cId="3226856182" sldId="618"/>
            <ac:spMk id="45" creationId="{1A001202-3B3F-5C5C-DBC0-974A06BC891A}"/>
          </ac:spMkLst>
        </pc:spChg>
        <pc:spChg chg="add del mod">
          <ac:chgData name="Auradee Castro" userId="5b47d84d-e816-421d-a9bd-ea845bdedce9" providerId="ADAL" clId="{1932EABC-6A65-42BB-B401-660E24DD0AB8}" dt="2023-04-18T22:19:59.642" v="3536"/>
          <ac:spMkLst>
            <pc:docMk/>
            <pc:sldMk cId="3226856182" sldId="618"/>
            <ac:spMk id="46" creationId="{AA6DD236-AA0C-C610-554C-6D0AB45D22BD}"/>
          </ac:spMkLst>
        </pc:spChg>
        <pc:grpChg chg="add del mod">
          <ac:chgData name="Auradee Castro" userId="5b47d84d-e816-421d-a9bd-ea845bdedce9" providerId="ADAL" clId="{1932EABC-6A65-42BB-B401-660E24DD0AB8}" dt="2023-04-19T15:50:13.059" v="3853" actId="1036"/>
          <ac:grpSpMkLst>
            <pc:docMk/>
            <pc:sldMk cId="3226856182" sldId="618"/>
            <ac:grpSpMk id="20" creationId="{6B2346EF-EC9B-6F69-6F99-F7D10D4C2203}"/>
          </ac:grpSpMkLst>
        </pc:grpChg>
        <pc:grpChg chg="add del mod">
          <ac:chgData name="Auradee Castro" userId="5b47d84d-e816-421d-a9bd-ea845bdedce9" providerId="ADAL" clId="{1932EABC-6A65-42BB-B401-660E24DD0AB8}" dt="2023-04-19T15:50:13.059" v="3853" actId="1036"/>
          <ac:grpSpMkLst>
            <pc:docMk/>
            <pc:sldMk cId="3226856182" sldId="618"/>
            <ac:grpSpMk id="23" creationId="{B5A6B671-3D95-2E85-FB81-F1D75852F38E}"/>
          </ac:grpSpMkLst>
        </pc:grpChg>
        <pc:grpChg chg="add mod">
          <ac:chgData name="Auradee Castro" userId="5b47d84d-e816-421d-a9bd-ea845bdedce9" providerId="ADAL" clId="{1932EABC-6A65-42BB-B401-660E24DD0AB8}" dt="2023-04-18T22:24:09.555" v="3652" actId="164"/>
          <ac:grpSpMkLst>
            <pc:docMk/>
            <pc:sldMk cId="3226856182" sldId="618"/>
            <ac:grpSpMk id="48" creationId="{37C0DF62-1CFC-D8C4-B9FA-35AA6394E590}"/>
          </ac:grpSpMkLst>
        </pc:grpChg>
        <pc:grpChg chg="add mod">
          <ac:chgData name="Auradee Castro" userId="5b47d84d-e816-421d-a9bd-ea845bdedce9" providerId="ADAL" clId="{1932EABC-6A65-42BB-B401-660E24DD0AB8}" dt="2023-04-19T15:50:05.276" v="3851" actId="1035"/>
          <ac:grpSpMkLst>
            <pc:docMk/>
            <pc:sldMk cId="3226856182" sldId="618"/>
            <ac:grpSpMk id="49" creationId="{28A721B3-038B-C041-2C26-68C07795009F}"/>
          </ac:grpSpMkLst>
        </pc:grpChg>
        <pc:picChg chg="mod">
          <ac:chgData name="Auradee Castro" userId="5b47d84d-e816-421d-a9bd-ea845bdedce9" providerId="ADAL" clId="{1932EABC-6A65-42BB-B401-660E24DD0AB8}" dt="2023-04-20T00:35:39.791" v="3938" actId="207"/>
          <ac:picMkLst>
            <pc:docMk/>
            <pc:sldMk cId="3226856182" sldId="618"/>
            <ac:picMk id="9" creationId="{C9F94FD8-7F77-C7A2-38A2-6278D573B46C}"/>
          </ac:picMkLst>
        </pc:picChg>
        <pc:cxnChg chg="add del mod">
          <ac:chgData name="Auradee Castro" userId="5b47d84d-e816-421d-a9bd-ea845bdedce9" providerId="ADAL" clId="{1932EABC-6A65-42BB-B401-660E24DD0AB8}" dt="2023-04-19T15:50:13.059" v="3853" actId="1036"/>
          <ac:cxnSpMkLst>
            <pc:docMk/>
            <pc:sldMk cId="3226856182" sldId="618"/>
            <ac:cxnSpMk id="8" creationId="{5F1EDBD6-645F-FB53-93D5-D93B5FCA9444}"/>
          </ac:cxnSpMkLst>
        </pc:cxnChg>
        <pc:cxnChg chg="add del mod">
          <ac:chgData name="Auradee Castro" userId="5b47d84d-e816-421d-a9bd-ea845bdedce9" providerId="ADAL" clId="{1932EABC-6A65-42BB-B401-660E24DD0AB8}" dt="2023-04-18T22:08:11.193" v="3177" actId="478"/>
          <ac:cxnSpMkLst>
            <pc:docMk/>
            <pc:sldMk cId="3226856182" sldId="618"/>
            <ac:cxnSpMk id="11" creationId="{FAA9F944-3466-83BC-906E-E27DCBC4C6B9}"/>
          </ac:cxnSpMkLst>
        </pc:cxnChg>
        <pc:cxnChg chg="add mod">
          <ac:chgData name="Auradee Castro" userId="5b47d84d-e816-421d-a9bd-ea845bdedce9" providerId="ADAL" clId="{1932EABC-6A65-42BB-B401-660E24DD0AB8}" dt="2023-04-19T15:50:13.059" v="3853" actId="1036"/>
          <ac:cxnSpMkLst>
            <pc:docMk/>
            <pc:sldMk cId="3226856182" sldId="618"/>
            <ac:cxnSpMk id="47" creationId="{D8281D10-0321-8350-6E42-C0AA9A2DE1CB}"/>
          </ac:cxnSpMkLst>
        </pc:cxnChg>
      </pc:sldChg>
      <pc:sldChg chg="add del">
        <pc:chgData name="Auradee Castro" userId="5b47d84d-e816-421d-a9bd-ea845bdedce9" providerId="ADAL" clId="{1932EABC-6A65-42BB-B401-660E24DD0AB8}" dt="2023-04-18T17:24:43.289" v="2"/>
        <pc:sldMkLst>
          <pc:docMk/>
          <pc:sldMk cId="2252611571" sldId="619"/>
        </pc:sldMkLst>
      </pc:sldChg>
      <pc:sldChg chg="addSp modSp del mod ord">
        <pc:chgData name="Auradee Castro" userId="5b47d84d-e816-421d-a9bd-ea845bdedce9" providerId="ADAL" clId="{1932EABC-6A65-42BB-B401-660E24DD0AB8}" dt="2023-04-19T02:13:28.758" v="3812" actId="47"/>
        <pc:sldMkLst>
          <pc:docMk/>
          <pc:sldMk cId="1526955458" sldId="620"/>
        </pc:sldMkLst>
        <pc:spChg chg="mod">
          <ac:chgData name="Auradee Castro" userId="5b47d84d-e816-421d-a9bd-ea845bdedce9" providerId="ADAL" clId="{1932EABC-6A65-42BB-B401-660E24DD0AB8}" dt="2023-04-18T21:43:48.466" v="2299" actId="20577"/>
          <ac:spMkLst>
            <pc:docMk/>
            <pc:sldMk cId="1526955458" sldId="620"/>
            <ac:spMk id="2" creationId="{8F9128BC-1D37-66AB-858A-60235B0D02F9}"/>
          </ac:spMkLst>
        </pc:spChg>
        <pc:spChg chg="mod">
          <ac:chgData name="Auradee Castro" userId="5b47d84d-e816-421d-a9bd-ea845bdedce9" providerId="ADAL" clId="{1932EABC-6A65-42BB-B401-660E24DD0AB8}" dt="2023-04-18T21:43:11.011" v="2293" actId="1076"/>
          <ac:spMkLst>
            <pc:docMk/>
            <pc:sldMk cId="1526955458" sldId="620"/>
            <ac:spMk id="3" creationId="{653E87D1-548F-CD85-19E9-936E784CCAA2}"/>
          </ac:spMkLst>
        </pc:spChg>
        <pc:spChg chg="add mod">
          <ac:chgData name="Auradee Castro" userId="5b47d84d-e816-421d-a9bd-ea845bdedce9" providerId="ADAL" clId="{1932EABC-6A65-42BB-B401-660E24DD0AB8}" dt="2023-04-18T21:44:31.539" v="2300" actId="20577"/>
          <ac:spMkLst>
            <pc:docMk/>
            <pc:sldMk cId="1526955458" sldId="620"/>
            <ac:spMk id="4" creationId="{C2055908-272A-2B1D-6D8C-D7722FC2A1F8}"/>
          </ac:spMkLst>
        </pc:spChg>
      </pc:sldChg>
      <pc:sldChg chg="add del">
        <pc:chgData name="Auradee Castro" userId="5b47d84d-e816-421d-a9bd-ea845bdedce9" providerId="ADAL" clId="{1932EABC-6A65-42BB-B401-660E24DD0AB8}" dt="2023-04-18T17:24:43.289" v="2"/>
        <pc:sldMkLst>
          <pc:docMk/>
          <pc:sldMk cId="286777989" sldId="623"/>
        </pc:sldMkLst>
      </pc:sldChg>
      <pc:sldChg chg="ord">
        <pc:chgData name="Auradee Castro" userId="5b47d84d-e816-421d-a9bd-ea845bdedce9" providerId="ADAL" clId="{1932EABC-6A65-42BB-B401-660E24DD0AB8}" dt="2023-04-18T22:26:20.876" v="3745" actId="20578"/>
        <pc:sldMkLst>
          <pc:docMk/>
          <pc:sldMk cId="3790078528" sldId="627"/>
        </pc:sldMkLst>
      </pc:sldChg>
      <pc:sldChg chg="add del">
        <pc:chgData name="Auradee Castro" userId="5b47d84d-e816-421d-a9bd-ea845bdedce9" providerId="ADAL" clId="{1932EABC-6A65-42BB-B401-660E24DD0AB8}" dt="2023-04-18T17:24:46.617" v="3" actId="47"/>
        <pc:sldMkLst>
          <pc:docMk/>
          <pc:sldMk cId="2216354628" sldId="628"/>
        </pc:sldMkLst>
      </pc:sldChg>
      <pc:sldChg chg="add del">
        <pc:chgData name="Auradee Castro" userId="5b47d84d-e816-421d-a9bd-ea845bdedce9" providerId="ADAL" clId="{1932EABC-6A65-42BB-B401-660E24DD0AB8}" dt="2023-04-18T17:24:46.617" v="3" actId="47"/>
        <pc:sldMkLst>
          <pc:docMk/>
          <pc:sldMk cId="3407455097" sldId="629"/>
        </pc:sldMkLst>
      </pc:sldChg>
      <pc:sldChg chg="add del">
        <pc:chgData name="Auradee Castro" userId="5b47d84d-e816-421d-a9bd-ea845bdedce9" providerId="ADAL" clId="{1932EABC-6A65-42BB-B401-660E24DD0AB8}" dt="2023-04-18T17:24:46.617" v="3" actId="47"/>
        <pc:sldMkLst>
          <pc:docMk/>
          <pc:sldMk cId="1584400482" sldId="630"/>
        </pc:sldMkLst>
      </pc:sldChg>
      <pc:sldChg chg="addSp delSp modSp add mod">
        <pc:chgData name="Auradee Castro" userId="5b47d84d-e816-421d-a9bd-ea845bdedce9" providerId="ADAL" clId="{1932EABC-6A65-42BB-B401-660E24DD0AB8}" dt="2023-04-20T00:38:47.031" v="3986" actId="20577"/>
        <pc:sldMkLst>
          <pc:docMk/>
          <pc:sldMk cId="3789486591" sldId="633"/>
        </pc:sldMkLst>
        <pc:spChg chg="add mod">
          <ac:chgData name="Auradee Castro" userId="5b47d84d-e816-421d-a9bd-ea845bdedce9" providerId="ADAL" clId="{1932EABC-6A65-42BB-B401-660E24DD0AB8}" dt="2023-04-18T22:13:21.576" v="3359" actId="14100"/>
          <ac:spMkLst>
            <pc:docMk/>
            <pc:sldMk cId="3789486591" sldId="633"/>
            <ac:spMk id="5" creationId="{427CA274-EE04-575B-2532-8E30634CB6AA}"/>
          </ac:spMkLst>
        </pc:spChg>
        <pc:spChg chg="mod">
          <ac:chgData name="Auradee Castro" userId="5b47d84d-e816-421d-a9bd-ea845bdedce9" providerId="ADAL" clId="{1932EABC-6A65-42BB-B401-660E24DD0AB8}" dt="2023-04-20T00:38:47.031" v="3986" actId="20577"/>
          <ac:spMkLst>
            <pc:docMk/>
            <pc:sldMk cId="3789486591" sldId="633"/>
            <ac:spMk id="7" creationId="{8A3359AE-AA5B-CBC7-69D2-311119A800FA}"/>
          </ac:spMkLst>
        </pc:spChg>
        <pc:picChg chg="add mod">
          <ac:chgData name="Auradee Castro" userId="5b47d84d-e816-421d-a9bd-ea845bdedce9" providerId="ADAL" clId="{1932EABC-6A65-42BB-B401-660E24DD0AB8}" dt="2023-04-18T17:46:45.842" v="133" actId="14100"/>
          <ac:picMkLst>
            <pc:docMk/>
            <pc:sldMk cId="3789486591" sldId="633"/>
            <ac:picMk id="4" creationId="{C09936F8-5086-199E-D661-E0B3D20BDD1B}"/>
          </ac:picMkLst>
        </pc:picChg>
        <pc:picChg chg="del">
          <ac:chgData name="Auradee Castro" userId="5b47d84d-e816-421d-a9bd-ea845bdedce9" providerId="ADAL" clId="{1932EABC-6A65-42BB-B401-660E24DD0AB8}" dt="2023-04-18T17:25:04.220" v="4" actId="478"/>
          <ac:picMkLst>
            <pc:docMk/>
            <pc:sldMk cId="3789486591" sldId="633"/>
            <ac:picMk id="9" creationId="{22F2C22C-C30A-4459-92CF-625539F34256}"/>
          </ac:picMkLst>
        </pc:picChg>
        <pc:picChg chg="mod">
          <ac:chgData name="Auradee Castro" userId="5b47d84d-e816-421d-a9bd-ea845bdedce9" providerId="ADAL" clId="{1932EABC-6A65-42BB-B401-660E24DD0AB8}" dt="2023-04-18T17:47:18.396" v="159" actId="1036"/>
          <ac:picMkLst>
            <pc:docMk/>
            <pc:sldMk cId="3789486591" sldId="633"/>
            <ac:picMk id="11" creationId="{74C488DA-E7E2-AA6C-F26F-1D7E30CC557F}"/>
          </ac:picMkLst>
        </pc:picChg>
      </pc:sldChg>
      <pc:sldChg chg="modSp add mod">
        <pc:chgData name="Auradee Castro" userId="5b47d84d-e816-421d-a9bd-ea845bdedce9" providerId="ADAL" clId="{1932EABC-6A65-42BB-B401-660E24DD0AB8}" dt="2023-04-19T19:57:03.734" v="3892" actId="20577"/>
        <pc:sldMkLst>
          <pc:docMk/>
          <pc:sldMk cId="3625445693" sldId="634"/>
        </pc:sldMkLst>
        <pc:spChg chg="mod">
          <ac:chgData name="Auradee Castro" userId="5b47d84d-e816-421d-a9bd-ea845bdedce9" providerId="ADAL" clId="{1932EABC-6A65-42BB-B401-660E24DD0AB8}" dt="2023-04-19T19:57:03.734" v="3892" actId="20577"/>
          <ac:spMkLst>
            <pc:docMk/>
            <pc:sldMk cId="3625445693" sldId="634"/>
            <ac:spMk id="2" creationId="{8F9128BC-1D37-66AB-858A-60235B0D02F9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2" creationId="{FE7A8754-1D17-CAE0-CE0A-967A1EB9AFAF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3" creationId="{6960C97D-C254-5AED-AD73-3CEA2327AA91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4" creationId="{D8F8D58D-1E37-5616-F4E4-A3A1C455860A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6" creationId="{167C3EA3-64D3-8A95-6738-7A356990E4BB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7" creationId="{3E86B7E6-129E-B1E4-6FBC-909C171DD2BD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19" creationId="{1F541673-A766-D3D7-A666-A4C68D414F42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41" creationId="{40B8D283-F2D0-F051-5CA1-508CFF1ED3C8}"/>
          </ac:spMkLst>
        </pc:spChg>
        <pc:spChg chg="mod">
          <ac:chgData name="Auradee Castro" userId="5b47d84d-e816-421d-a9bd-ea845bdedce9" providerId="ADAL" clId="{1932EABC-6A65-42BB-B401-660E24DD0AB8}" dt="2023-04-18T17:27:12.612" v="54" actId="1036"/>
          <ac:spMkLst>
            <pc:docMk/>
            <pc:sldMk cId="3625445693" sldId="634"/>
            <ac:spMk id="46" creationId="{3C4EDFAB-2324-EFA4-C46B-BB5D80C56A9C}"/>
          </ac:spMkLst>
        </pc:s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20" creationId="{6B2346EF-EC9B-6F69-6F99-F7D10D4C2203}"/>
          </ac:grpSpMkLst>
        </pc:gr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23" creationId="{B5A6B671-3D95-2E85-FB81-F1D75852F38E}"/>
          </ac:grpSpMkLst>
        </pc:gr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35" creationId="{F002708E-0DC1-E81F-AC65-C704796613EC}"/>
          </ac:grpSpMkLst>
        </pc:gr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53" creationId="{A43EA5CD-42F6-0801-651E-401582094CBF}"/>
          </ac:grpSpMkLst>
        </pc:gr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82" creationId="{FE1D9C3A-EA89-E00F-2215-08298B0AEED7}"/>
          </ac:grpSpMkLst>
        </pc:grpChg>
        <pc:grpChg chg="mod">
          <ac:chgData name="Auradee Castro" userId="5b47d84d-e816-421d-a9bd-ea845bdedce9" providerId="ADAL" clId="{1932EABC-6A65-42BB-B401-660E24DD0AB8}" dt="2023-04-18T17:27:12.612" v="54" actId="1036"/>
          <ac:grpSpMkLst>
            <pc:docMk/>
            <pc:sldMk cId="3625445693" sldId="634"/>
            <ac:grpSpMk id="111" creationId="{4383CBC5-B21D-9EBC-1EE6-D715A945DDDC}"/>
          </ac:grpSpMkLst>
        </pc:grpChg>
        <pc:cxnChg chg="mod">
          <ac:chgData name="Auradee Castro" userId="5b47d84d-e816-421d-a9bd-ea845bdedce9" providerId="ADAL" clId="{1932EABC-6A65-42BB-B401-660E24DD0AB8}" dt="2023-04-18T17:27:12.612" v="54" actId="1036"/>
          <ac:cxnSpMkLst>
            <pc:docMk/>
            <pc:sldMk cId="3625445693" sldId="634"/>
            <ac:cxnSpMk id="15" creationId="{48B2C8EC-7BB0-6BE4-5058-F8275E640070}"/>
          </ac:cxnSpMkLst>
        </pc:cxnChg>
        <pc:cxnChg chg="mod">
          <ac:chgData name="Auradee Castro" userId="5b47d84d-e816-421d-a9bd-ea845bdedce9" providerId="ADAL" clId="{1932EABC-6A65-42BB-B401-660E24DD0AB8}" dt="2023-04-18T17:27:12.612" v="54" actId="1036"/>
          <ac:cxnSpMkLst>
            <pc:docMk/>
            <pc:sldMk cId="3625445693" sldId="634"/>
            <ac:cxnSpMk id="18" creationId="{133FE64F-9467-00A4-2DCB-DF4196653732}"/>
          </ac:cxnSpMkLst>
        </pc:cxnChg>
        <pc:cxnChg chg="mod">
          <ac:chgData name="Auradee Castro" userId="5b47d84d-e816-421d-a9bd-ea845bdedce9" providerId="ADAL" clId="{1932EABC-6A65-42BB-B401-660E24DD0AB8}" dt="2023-04-18T17:27:12.612" v="54" actId="1036"/>
          <ac:cxnSpMkLst>
            <pc:docMk/>
            <pc:sldMk cId="3625445693" sldId="634"/>
            <ac:cxnSpMk id="30" creationId="{92AC17DA-70B9-699E-80BB-BEBD087F89BB}"/>
          </ac:cxnSpMkLst>
        </pc:cxnChg>
        <pc:cxnChg chg="mod">
          <ac:chgData name="Auradee Castro" userId="5b47d84d-e816-421d-a9bd-ea845bdedce9" providerId="ADAL" clId="{1932EABC-6A65-42BB-B401-660E24DD0AB8}" dt="2023-04-18T17:27:12.612" v="54" actId="1036"/>
          <ac:cxnSpMkLst>
            <pc:docMk/>
            <pc:sldMk cId="3625445693" sldId="634"/>
            <ac:cxnSpMk id="103" creationId="{B02F9337-0D11-863F-1287-015E6AF32346}"/>
          </ac:cxnSpMkLst>
        </pc:cxnChg>
      </pc:sldChg>
      <pc:sldChg chg="add del">
        <pc:chgData name="Auradee Castro" userId="5b47d84d-e816-421d-a9bd-ea845bdedce9" providerId="ADAL" clId="{1932EABC-6A65-42BB-B401-660E24DD0AB8}" dt="2023-04-18T22:11:29.900" v="3300" actId="47"/>
        <pc:sldMkLst>
          <pc:docMk/>
          <pc:sldMk cId="2624046068" sldId="635"/>
        </pc:sldMkLst>
      </pc:sldChg>
      <pc:sldChg chg="addSp modSp new del mod">
        <pc:chgData name="Auradee Castro" userId="5b47d84d-e816-421d-a9bd-ea845bdedce9" providerId="ADAL" clId="{1932EABC-6A65-42BB-B401-660E24DD0AB8}" dt="2023-04-18T18:25:34.272" v="1636" actId="47"/>
        <pc:sldMkLst>
          <pc:docMk/>
          <pc:sldMk cId="3214218376" sldId="635"/>
        </pc:sldMkLst>
        <pc:spChg chg="add mod">
          <ac:chgData name="Auradee Castro" userId="5b47d84d-e816-421d-a9bd-ea845bdedce9" providerId="ADAL" clId="{1932EABC-6A65-42BB-B401-660E24DD0AB8}" dt="2023-04-18T18:16:32.630" v="1004" actId="400"/>
          <ac:spMkLst>
            <pc:docMk/>
            <pc:sldMk cId="3214218376" sldId="635"/>
            <ac:spMk id="3" creationId="{14118C05-EC37-21E6-A4AD-BDF3A5B8985F}"/>
          </ac:spMkLst>
        </pc:spChg>
      </pc:sldChg>
      <pc:sldChg chg="modSp mod">
        <pc:chgData name="Auradee Castro" userId="5b47d84d-e816-421d-a9bd-ea845bdedce9" providerId="ADAL" clId="{1932EABC-6A65-42BB-B401-660E24DD0AB8}" dt="2023-04-19T19:56:28.655" v="3871" actId="20577"/>
        <pc:sldMkLst>
          <pc:docMk/>
          <pc:sldMk cId="3560507232" sldId="635"/>
        </pc:sldMkLst>
        <pc:spChg chg="mod">
          <ac:chgData name="Auradee Castro" userId="5b47d84d-e816-421d-a9bd-ea845bdedce9" providerId="ADAL" clId="{1932EABC-6A65-42BB-B401-660E24DD0AB8}" dt="2023-04-19T19:56:28.655" v="3871" actId="20577"/>
          <ac:spMkLst>
            <pc:docMk/>
            <pc:sldMk cId="3560507232" sldId="635"/>
            <ac:spMk id="2" creationId="{8F9128BC-1D37-66AB-858A-60235B0D02F9}"/>
          </ac:spMkLst>
        </pc:spChg>
      </pc:sldChg>
      <pc:sldChg chg="modSp mod">
        <pc:chgData name="Auradee Castro" userId="5b47d84d-e816-421d-a9bd-ea845bdedce9" providerId="ADAL" clId="{1932EABC-6A65-42BB-B401-660E24DD0AB8}" dt="2023-04-20T00:34:07.183" v="3937" actId="14100"/>
        <pc:sldMkLst>
          <pc:docMk/>
          <pc:sldMk cId="1322459214" sldId="637"/>
        </pc:sldMkLst>
        <pc:spChg chg="mod">
          <ac:chgData name="Auradee Castro" userId="5b47d84d-e816-421d-a9bd-ea845bdedce9" providerId="ADAL" clId="{1932EABC-6A65-42BB-B401-660E24DD0AB8}" dt="2023-04-19T19:56:20.013" v="3865" actId="20577"/>
          <ac:spMkLst>
            <pc:docMk/>
            <pc:sldMk cId="1322459214" sldId="637"/>
            <ac:spMk id="2" creationId="{8F9128BC-1D37-66AB-858A-60235B0D02F9}"/>
          </ac:spMkLst>
        </pc:spChg>
        <pc:spChg chg="mod">
          <ac:chgData name="Auradee Castro" userId="5b47d84d-e816-421d-a9bd-ea845bdedce9" providerId="ADAL" clId="{1932EABC-6A65-42BB-B401-660E24DD0AB8}" dt="2023-04-19T19:58:19.358" v="3894" actId="20577"/>
          <ac:spMkLst>
            <pc:docMk/>
            <pc:sldMk cId="1322459214" sldId="637"/>
            <ac:spMk id="12" creationId="{FE7A8754-1D17-CAE0-CE0A-967A1EB9AFAF}"/>
          </ac:spMkLst>
        </pc:spChg>
        <pc:spChg chg="mod">
          <ac:chgData name="Auradee Castro" userId="5b47d84d-e816-421d-a9bd-ea845bdedce9" providerId="ADAL" clId="{1932EABC-6A65-42BB-B401-660E24DD0AB8}" dt="2023-04-19T19:59:20.725" v="3898" actId="113"/>
          <ac:spMkLst>
            <pc:docMk/>
            <pc:sldMk cId="1322459214" sldId="637"/>
            <ac:spMk id="16" creationId="{167C3EA3-64D3-8A95-6738-7A356990E4BB}"/>
          </ac:spMkLst>
        </pc:spChg>
        <pc:spChg chg="mod">
          <ac:chgData name="Auradee Castro" userId="5b47d84d-e816-421d-a9bd-ea845bdedce9" providerId="ADAL" clId="{1932EABC-6A65-42BB-B401-660E24DD0AB8}" dt="2023-04-19T20:02:09.955" v="3929" actId="20577"/>
          <ac:spMkLst>
            <pc:docMk/>
            <pc:sldMk cId="1322459214" sldId="637"/>
            <ac:spMk id="30" creationId="{CCAA0CE4-58F6-D22A-C62A-2ED525AEB2F7}"/>
          </ac:spMkLst>
        </pc:spChg>
        <pc:spChg chg="mod">
          <ac:chgData name="Auradee Castro" userId="5b47d84d-e816-421d-a9bd-ea845bdedce9" providerId="ADAL" clId="{1932EABC-6A65-42BB-B401-660E24DD0AB8}" dt="2023-04-20T00:34:07.183" v="3937" actId="14100"/>
          <ac:spMkLst>
            <pc:docMk/>
            <pc:sldMk cId="1322459214" sldId="637"/>
            <ac:spMk id="52" creationId="{03C0B7E1-0CF8-1A0C-177E-E137A81FE5DC}"/>
          </ac:spMkLst>
        </pc:spChg>
      </pc:sldChg>
      <pc:sldChg chg="modSp mod">
        <pc:chgData name="Auradee Castro" userId="5b47d84d-e816-421d-a9bd-ea845bdedce9" providerId="ADAL" clId="{1932EABC-6A65-42BB-B401-660E24DD0AB8}" dt="2023-04-20T03:00:54.779" v="4003" actId="2710"/>
        <pc:sldMkLst>
          <pc:docMk/>
          <pc:sldMk cId="1532578159" sldId="638"/>
        </pc:sldMkLst>
        <pc:spChg chg="mod">
          <ac:chgData name="Auradee Castro" userId="5b47d84d-e816-421d-a9bd-ea845bdedce9" providerId="ADAL" clId="{1932EABC-6A65-42BB-B401-660E24DD0AB8}" dt="2023-04-20T03:00:54.779" v="4003" actId="2710"/>
          <ac:spMkLst>
            <pc:docMk/>
            <pc:sldMk cId="1532578159" sldId="638"/>
            <ac:spMk id="3" creationId="{83CAA434-6EE9-F190-219D-FF24E6B29FF1}"/>
          </ac:spMkLst>
        </pc:spChg>
      </pc:sldChg>
    </pc:docChg>
  </pc:docChgLst>
  <pc:docChgLst>
    <pc:chgData name="Olivia Deguit" userId="S::c0878491@mylambton.ca::7760cefb-fd23-432d-9540-9332031f1997" providerId="AD" clId="Web-{640E8BB2-C062-449E-A997-05BBBF0F7199}"/>
    <pc:docChg chg="modSld">
      <pc:chgData name="Olivia Deguit" userId="S::c0878491@mylambton.ca::7760cefb-fd23-432d-9540-9332031f1997" providerId="AD" clId="Web-{640E8BB2-C062-449E-A997-05BBBF0F7199}" dt="2023-04-19T01:55:43.096" v="9" actId="14100"/>
      <pc:docMkLst>
        <pc:docMk/>
      </pc:docMkLst>
      <pc:sldChg chg="modSp">
        <pc:chgData name="Olivia Deguit" userId="S::c0878491@mylambton.ca::7760cefb-fd23-432d-9540-9332031f1997" providerId="AD" clId="Web-{640E8BB2-C062-449E-A997-05BBBF0F7199}" dt="2023-04-19T01:55:43.096" v="9" actId="14100"/>
        <pc:sldMkLst>
          <pc:docMk/>
          <pc:sldMk cId="2279341814" sldId="614"/>
        </pc:sldMkLst>
        <pc:spChg chg="mod">
          <ac:chgData name="Olivia Deguit" userId="S::c0878491@mylambton.ca::7760cefb-fd23-432d-9540-9332031f1997" providerId="AD" clId="Web-{640E8BB2-C062-449E-A997-05BBBF0F7199}" dt="2023-04-19T01:55:32.377" v="8" actId="1076"/>
          <ac:spMkLst>
            <pc:docMk/>
            <pc:sldMk cId="2279341814" sldId="614"/>
            <ac:spMk id="66" creationId="{5F0EA7B8-78D8-D1B7-DEEC-D20BD0B900F1}"/>
          </ac:spMkLst>
        </pc:spChg>
        <pc:cxnChg chg="mod">
          <ac:chgData name="Olivia Deguit" userId="S::c0878491@mylambton.ca::7760cefb-fd23-432d-9540-9332031f1997" providerId="AD" clId="Web-{640E8BB2-C062-449E-A997-05BBBF0F7199}" dt="2023-04-19T01:55:43.096" v="9" actId="14100"/>
          <ac:cxnSpMkLst>
            <pc:docMk/>
            <pc:sldMk cId="2279341814" sldId="614"/>
            <ac:cxnSpMk id="48" creationId="{96197FC9-4EEB-D3A1-332E-EBE0A62ADBB2}"/>
          </ac:cxnSpMkLst>
        </pc:cxnChg>
      </pc:sldChg>
    </pc:docChg>
  </pc:docChgLst>
  <pc:docChgLst>
    <pc:chgData name="Auradee Castro" userId="5b47d84d-e816-421d-a9bd-ea845bdedce9" providerId="ADAL" clId="{ABC34375-8FCD-4B3B-8662-4D95808BABCB}"/>
    <pc:docChg chg="undo redo custSel addSld delSld modSld sldOrd">
      <pc:chgData name="Auradee Castro" userId="5b47d84d-e816-421d-a9bd-ea845bdedce9" providerId="ADAL" clId="{ABC34375-8FCD-4B3B-8662-4D95808BABCB}" dt="2023-04-14T13:13:49.304" v="4870" actId="732"/>
      <pc:docMkLst>
        <pc:docMk/>
      </pc:docMkLst>
      <pc:sldChg chg="del">
        <pc:chgData name="Auradee Castro" userId="5b47d84d-e816-421d-a9bd-ea845bdedce9" providerId="ADAL" clId="{ABC34375-8FCD-4B3B-8662-4D95808BABCB}" dt="2023-04-12T03:19:53.960" v="1" actId="47"/>
        <pc:sldMkLst>
          <pc:docMk/>
          <pc:sldMk cId="1493273716" sldId="404"/>
        </pc:sldMkLst>
      </pc:sldChg>
      <pc:sldChg chg="delSp modSp mod">
        <pc:chgData name="Auradee Castro" userId="5b47d84d-e816-421d-a9bd-ea845bdedce9" providerId="ADAL" clId="{ABC34375-8FCD-4B3B-8662-4D95808BABCB}" dt="2023-04-12T05:28:29.755" v="2257" actId="207"/>
        <pc:sldMkLst>
          <pc:docMk/>
          <pc:sldMk cId="3394563635" sldId="581"/>
        </pc:sldMkLst>
        <pc:spChg chg="mod">
          <ac:chgData name="Auradee Castro" userId="5b47d84d-e816-421d-a9bd-ea845bdedce9" providerId="ADAL" clId="{ABC34375-8FCD-4B3B-8662-4D95808BABCB}" dt="2023-04-12T05:28:29.755" v="2257" actId="207"/>
          <ac:spMkLst>
            <pc:docMk/>
            <pc:sldMk cId="3394563635" sldId="581"/>
            <ac:spMk id="4" creationId="{B9F7AAA0-6D2F-909C-1E50-4F93904827DA}"/>
          </ac:spMkLst>
        </pc:spChg>
        <pc:spChg chg="del mod">
          <ac:chgData name="Auradee Castro" userId="5b47d84d-e816-421d-a9bd-ea845bdedce9" providerId="ADAL" clId="{ABC34375-8FCD-4B3B-8662-4D95808BABCB}" dt="2023-04-12T03:39:38.206" v="568" actId="478"/>
          <ac:spMkLst>
            <pc:docMk/>
            <pc:sldMk cId="3394563635" sldId="581"/>
            <ac:spMk id="6" creationId="{BB176433-B5B0-F84F-024B-71DDDEAFC3DA}"/>
          </ac:spMkLst>
        </pc:spChg>
      </pc:sldChg>
      <pc:sldChg chg="addSp delSp modSp mod">
        <pc:chgData name="Auradee Castro" userId="5b47d84d-e816-421d-a9bd-ea845bdedce9" providerId="ADAL" clId="{ABC34375-8FCD-4B3B-8662-4D95808BABCB}" dt="2023-04-14T01:08:43.442" v="3093" actId="1076"/>
        <pc:sldMkLst>
          <pc:docMk/>
          <pc:sldMk cId="2270713310" sldId="598"/>
        </pc:sldMkLst>
        <pc:spChg chg="mod">
          <ac:chgData name="Auradee Castro" userId="5b47d84d-e816-421d-a9bd-ea845bdedce9" providerId="ADAL" clId="{ABC34375-8FCD-4B3B-8662-4D95808BABCB}" dt="2023-04-12T03:59:24.984" v="1006" actId="14100"/>
          <ac:spMkLst>
            <pc:docMk/>
            <pc:sldMk cId="2270713310" sldId="598"/>
            <ac:spMk id="2" creationId="{09ADDBD3-7A20-6F38-ADFC-203FE1B871B0}"/>
          </ac:spMkLst>
        </pc:spChg>
        <pc:spChg chg="mod or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9" creationId="{D68E2E6C-591B-2532-3244-CFBEB3D97303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0" creationId="{194C363E-8956-61DC-7AED-1A4D89D0CD8E}"/>
          </ac:spMkLst>
        </pc:spChg>
        <pc:spChg chg="mod">
          <ac:chgData name="Auradee Castro" userId="5b47d84d-e816-421d-a9bd-ea845bdedce9" providerId="ADAL" clId="{ABC34375-8FCD-4B3B-8662-4D95808BABCB}" dt="2023-04-12T05:34:59.289" v="2273" actId="14100"/>
          <ac:spMkLst>
            <pc:docMk/>
            <pc:sldMk cId="2270713310" sldId="598"/>
            <ac:spMk id="11" creationId="{3A3401B7-0B9A-64D3-FD38-0D7661AAC177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2" creationId="{8C63BD26-9DB2-6690-DBEA-64A1A7872482}"/>
          </ac:spMkLst>
        </pc:spChg>
        <pc:spChg chg="mod">
          <ac:chgData name="Auradee Castro" userId="5b47d84d-e816-421d-a9bd-ea845bdedce9" providerId="ADAL" clId="{ABC34375-8FCD-4B3B-8662-4D95808BABCB}" dt="2023-04-12T04:27:50.361" v="1415" actId="113"/>
          <ac:spMkLst>
            <pc:docMk/>
            <pc:sldMk cId="2270713310" sldId="598"/>
            <ac:spMk id="13" creationId="{870E19FA-A503-4BB4-1309-FE812B2A0083}"/>
          </ac:spMkLst>
        </pc:spChg>
        <pc:spChg chg="mod">
          <ac:chgData name="Auradee Castro" userId="5b47d84d-e816-421d-a9bd-ea845bdedce9" providerId="ADAL" clId="{ABC34375-8FCD-4B3B-8662-4D95808BABCB}" dt="2023-04-12T05:34:45.129" v="2270" actId="14100"/>
          <ac:spMkLst>
            <pc:docMk/>
            <pc:sldMk cId="2270713310" sldId="598"/>
            <ac:spMk id="14" creationId="{8388DB81-DF81-4FFA-7CF6-137C2BFAE673}"/>
          </ac:spMkLst>
        </pc:spChg>
        <pc:spChg chg="mod ord">
          <ac:chgData name="Auradee Castro" userId="5b47d84d-e816-421d-a9bd-ea845bdedce9" providerId="ADAL" clId="{ABC34375-8FCD-4B3B-8662-4D95808BABCB}" dt="2023-04-12T04:22:23.207" v="1254" actId="20577"/>
          <ac:spMkLst>
            <pc:docMk/>
            <pc:sldMk cId="2270713310" sldId="598"/>
            <ac:spMk id="15" creationId="{86D889D8-F5A6-C97A-9028-43293FE71624}"/>
          </ac:spMkLst>
        </pc:spChg>
        <pc:spChg chg="mod">
          <ac:chgData name="Auradee Castro" userId="5b47d84d-e816-421d-a9bd-ea845bdedce9" providerId="ADAL" clId="{ABC34375-8FCD-4B3B-8662-4D95808BABCB}" dt="2023-04-12T04:22:13.897" v="1253" actId="14100"/>
          <ac:spMkLst>
            <pc:docMk/>
            <pc:sldMk cId="2270713310" sldId="598"/>
            <ac:spMk id="17" creationId="{3BF135E0-8D5C-E824-DC4F-E0B8023292B0}"/>
          </ac:spMkLst>
        </pc:spChg>
        <pc:spChg chg="mod ord">
          <ac:chgData name="Auradee Castro" userId="5b47d84d-e816-421d-a9bd-ea845bdedce9" providerId="ADAL" clId="{ABC34375-8FCD-4B3B-8662-4D95808BABCB}" dt="2023-04-14T01:08:09.193" v="3085" actId="14100"/>
          <ac:spMkLst>
            <pc:docMk/>
            <pc:sldMk cId="2270713310" sldId="598"/>
            <ac:spMk id="18" creationId="{00230051-6A9F-5AF4-C0A2-CFF5F2B67986}"/>
          </ac:spMkLst>
        </pc:spChg>
        <pc:spChg chg="mod">
          <ac:chgData name="Auradee Castro" userId="5b47d84d-e816-421d-a9bd-ea845bdedce9" providerId="ADAL" clId="{ABC34375-8FCD-4B3B-8662-4D95808BABCB}" dt="2023-04-12T05:35:31.707" v="2277" actId="14100"/>
          <ac:spMkLst>
            <pc:docMk/>
            <pc:sldMk cId="2270713310" sldId="598"/>
            <ac:spMk id="19" creationId="{E902FDB3-294B-A754-02B2-525D196A01F0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25" creationId="{7F6D9D56-FA06-FE8C-4412-DDCF7A3B76C2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26" creationId="{253AD0D3-4785-BD66-93EC-C2369DB15E3E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27" creationId="{8450EA4A-CF1A-E6F0-A0FB-20952272DCD9}"/>
          </ac:spMkLst>
        </pc:spChg>
        <pc:spChg chg="del mod">
          <ac:chgData name="Auradee Castro" userId="5b47d84d-e816-421d-a9bd-ea845bdedce9" providerId="ADAL" clId="{ABC34375-8FCD-4B3B-8662-4D95808BABCB}" dt="2023-04-12T04:08:44.982" v="1106" actId="478"/>
          <ac:spMkLst>
            <pc:docMk/>
            <pc:sldMk cId="2270713310" sldId="598"/>
            <ac:spMk id="28" creationId="{3AA7AC59-402D-4375-FC60-E17379376ECA}"/>
          </ac:spMkLst>
        </pc:spChg>
        <pc:spChg chg="mod">
          <ac:chgData name="Auradee Castro" userId="5b47d84d-e816-421d-a9bd-ea845bdedce9" providerId="ADAL" clId="{ABC34375-8FCD-4B3B-8662-4D95808BABCB}" dt="2023-04-12T05:35:31.707" v="2277" actId="14100"/>
          <ac:spMkLst>
            <pc:docMk/>
            <pc:sldMk cId="2270713310" sldId="598"/>
            <ac:spMk id="29" creationId="{820D8888-DB2B-2224-A89D-902B31953387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31" creationId="{12F07E45-8ECE-FED8-3E02-EB6717A7F9B5}"/>
          </ac:spMkLst>
        </pc:spChg>
        <pc:spChg chg="mod">
          <ac:chgData name="Auradee Castro" userId="5b47d84d-e816-421d-a9bd-ea845bdedce9" providerId="ADAL" clId="{ABC34375-8FCD-4B3B-8662-4D95808BABCB}" dt="2023-04-12T05:35:31.707" v="2277" actId="14100"/>
          <ac:spMkLst>
            <pc:docMk/>
            <pc:sldMk cId="2270713310" sldId="598"/>
            <ac:spMk id="37" creationId="{0405C641-19C0-804F-704E-3B2CF82A1DC2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38" creationId="{A52F693B-2E26-34C3-BBC9-488E899AD1DD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40" creationId="{B2E7C7EA-B737-736F-8FEB-446BA2001AA7}"/>
          </ac:spMkLst>
        </pc:spChg>
        <pc:spChg chg="add mod or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41" creationId="{08A33A6B-1114-137B-5FEF-F28593A92B78}"/>
          </ac:spMkLst>
        </pc:spChg>
        <pc:spChg chg="mod">
          <ac:chgData name="Auradee Castro" userId="5b47d84d-e816-421d-a9bd-ea845bdedce9" providerId="ADAL" clId="{ABC34375-8FCD-4B3B-8662-4D95808BABCB}" dt="2023-04-12T04:13:16.855" v="1180" actId="20577"/>
          <ac:spMkLst>
            <pc:docMk/>
            <pc:sldMk cId="2270713310" sldId="598"/>
            <ac:spMk id="42" creationId="{07901F46-999D-9599-80A5-952C25E4934D}"/>
          </ac:spMkLst>
        </pc:spChg>
        <pc:spChg chg="mod">
          <ac:chgData name="Auradee Castro" userId="5b47d84d-e816-421d-a9bd-ea845bdedce9" providerId="ADAL" clId="{ABC34375-8FCD-4B3B-8662-4D95808BABCB}" dt="2023-04-12T04:13:23.856" v="1182" actId="20577"/>
          <ac:spMkLst>
            <pc:docMk/>
            <pc:sldMk cId="2270713310" sldId="598"/>
            <ac:spMk id="43" creationId="{5429FFFC-21E5-9AB6-653F-4E9EB0272F10}"/>
          </ac:spMkLst>
        </pc:spChg>
        <pc:spChg chg="mod">
          <ac:chgData name="Auradee Castro" userId="5b47d84d-e816-421d-a9bd-ea845bdedce9" providerId="ADAL" clId="{ABC34375-8FCD-4B3B-8662-4D95808BABCB}" dt="2023-04-12T04:13:27.525" v="1186" actId="20577"/>
          <ac:spMkLst>
            <pc:docMk/>
            <pc:sldMk cId="2270713310" sldId="598"/>
            <ac:spMk id="44" creationId="{66A83041-8009-74B9-DC8D-760D13BCCD5D}"/>
          </ac:spMkLst>
        </pc:spChg>
        <pc:spChg chg="mod">
          <ac:chgData name="Auradee Castro" userId="5b47d84d-e816-421d-a9bd-ea845bdedce9" providerId="ADAL" clId="{ABC34375-8FCD-4B3B-8662-4D95808BABCB}" dt="2023-04-12T04:13:31.452" v="1189" actId="20577"/>
          <ac:spMkLst>
            <pc:docMk/>
            <pc:sldMk cId="2270713310" sldId="598"/>
            <ac:spMk id="45" creationId="{8EC4A7CD-3F65-6DAB-0069-14CAF624F374}"/>
          </ac:spMkLst>
        </pc:spChg>
        <pc:spChg chg="mod">
          <ac:chgData name="Auradee Castro" userId="5b47d84d-e816-421d-a9bd-ea845bdedce9" providerId="ADAL" clId="{ABC34375-8FCD-4B3B-8662-4D95808BABCB}" dt="2023-04-12T04:13:33.569" v="1191" actId="20577"/>
          <ac:spMkLst>
            <pc:docMk/>
            <pc:sldMk cId="2270713310" sldId="598"/>
            <ac:spMk id="46" creationId="{732D6F40-6BB6-B61F-B5D4-6ED14664FB5E}"/>
          </ac:spMkLst>
        </pc:spChg>
        <pc:spChg chg="add mod or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47" creationId="{6C2A5787-E9FE-3F54-31E8-A8A32278A8CC}"/>
          </ac:spMkLst>
        </pc:spChg>
        <pc:spChg chg="add mod or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48" creationId="{3E22BBCF-7641-59BC-D983-6FF39AB6B025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49" creationId="{C0F855B7-4CC4-2D79-BCE7-3B91A888B7DB}"/>
          </ac:spMkLst>
        </pc:spChg>
        <pc:spChg chg="mod">
          <ac:chgData name="Auradee Castro" userId="5b47d84d-e816-421d-a9bd-ea845bdedce9" providerId="ADAL" clId="{ABC34375-8FCD-4B3B-8662-4D95808BABCB}" dt="2023-04-12T05:35:04.279" v="2274" actId="14100"/>
          <ac:spMkLst>
            <pc:docMk/>
            <pc:sldMk cId="2270713310" sldId="598"/>
            <ac:spMk id="51" creationId="{FF8D7A68-8890-56DA-2DC5-9095A27AADDB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53" creationId="{49DF18EF-88EE-27E8-C598-618AFC55A609}"/>
          </ac:spMkLst>
        </pc:spChg>
        <pc:spChg chg="add mod or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54" creationId="{87BC25BA-267F-42D5-E179-6DCB3660A00D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55" creationId="{13B5E3E3-7C71-8E0A-4BC6-5A751E9DCC77}"/>
          </ac:spMkLst>
        </pc:spChg>
        <pc:spChg chg="add mod">
          <ac:chgData name="Auradee Castro" userId="5b47d84d-e816-421d-a9bd-ea845bdedce9" providerId="ADAL" clId="{ABC34375-8FCD-4B3B-8662-4D95808BABCB}" dt="2023-04-12T04:07:34.849" v="1097" actId="571"/>
          <ac:spMkLst>
            <pc:docMk/>
            <pc:sldMk cId="2270713310" sldId="598"/>
            <ac:spMk id="56" creationId="{39507A8B-91B3-78CD-2C08-BE9037E8D502}"/>
          </ac:spMkLst>
        </pc:spChg>
        <pc:spChg chg="add mod">
          <ac:chgData name="Auradee Castro" userId="5b47d84d-e816-421d-a9bd-ea845bdedce9" providerId="ADAL" clId="{ABC34375-8FCD-4B3B-8662-4D95808BABCB}" dt="2023-04-12T04:07:34.849" v="1097" actId="571"/>
          <ac:spMkLst>
            <pc:docMk/>
            <pc:sldMk cId="2270713310" sldId="598"/>
            <ac:spMk id="57" creationId="{B0E024B7-43E2-155F-BF1A-0A279BA00446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59" creationId="{25636ED2-C280-C3B9-4432-E5036C5D6EC7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60" creationId="{BFE7F602-4980-9420-92B7-CC205D756A7D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62" creationId="{3173DC67-D78A-36A1-8A6D-F09E1040DB16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63" creationId="{370E9CF7-7C75-02A8-7605-4F15DBCAA5D3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65" creationId="{72F1FAF7-4B96-54C1-AD0A-606B2F5C4346}"/>
          </ac:spMkLst>
        </pc:spChg>
        <pc:spChg chg="add mod">
          <ac:chgData name="Auradee Castro" userId="5b47d84d-e816-421d-a9bd-ea845bdedce9" providerId="ADAL" clId="{ABC34375-8FCD-4B3B-8662-4D95808BABCB}" dt="2023-04-12T04:07:34.849" v="1097" actId="571"/>
          <ac:spMkLst>
            <pc:docMk/>
            <pc:sldMk cId="2270713310" sldId="598"/>
            <ac:spMk id="66" creationId="{5489DD44-1314-83DB-D0D7-F35E818FF155}"/>
          </ac:spMkLst>
        </pc:spChg>
        <pc:spChg chg="add mod">
          <ac:chgData name="Auradee Castro" userId="5b47d84d-e816-421d-a9bd-ea845bdedce9" providerId="ADAL" clId="{ABC34375-8FCD-4B3B-8662-4D95808BABCB}" dt="2023-04-12T04:07:34.849" v="1097" actId="571"/>
          <ac:spMkLst>
            <pc:docMk/>
            <pc:sldMk cId="2270713310" sldId="598"/>
            <ac:spMk id="67" creationId="{344C89B1-C026-71A2-A25B-77AAF96D4FAE}"/>
          </ac:spMkLst>
        </pc:spChg>
        <pc:spChg chg="add mod">
          <ac:chgData name="Auradee Castro" userId="5b47d84d-e816-421d-a9bd-ea845bdedce9" providerId="ADAL" clId="{ABC34375-8FCD-4B3B-8662-4D95808BABCB}" dt="2023-04-12T04:07:34.849" v="1097" actId="571"/>
          <ac:spMkLst>
            <pc:docMk/>
            <pc:sldMk cId="2270713310" sldId="598"/>
            <ac:spMk id="68" creationId="{B4402F3C-E5FB-05E5-EE34-AA2867563C3B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69" creationId="{D51C7185-6514-40E9-8673-1E963920E5D8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71" creationId="{377E4BDE-57D2-C01A-F772-C4FC2B36FEA4}"/>
          </ac:spMkLst>
        </pc:spChg>
        <pc:spChg chg="del mod">
          <ac:chgData name="Auradee Castro" userId="5b47d84d-e816-421d-a9bd-ea845bdedce9" providerId="ADAL" clId="{ABC34375-8FCD-4B3B-8662-4D95808BABCB}" dt="2023-04-12T04:10:28.580" v="1114" actId="478"/>
          <ac:spMkLst>
            <pc:docMk/>
            <pc:sldMk cId="2270713310" sldId="598"/>
            <ac:spMk id="80" creationId="{B49C802D-C6E1-DE26-D2E3-CD18BADF34EF}"/>
          </ac:spMkLst>
        </pc:spChg>
        <pc:spChg chg="add mod ord">
          <ac:chgData name="Auradee Castro" userId="5b47d84d-e816-421d-a9bd-ea845bdedce9" providerId="ADAL" clId="{ABC34375-8FCD-4B3B-8662-4D95808BABCB}" dt="2023-04-12T05:29:39.563" v="2262" actId="14100"/>
          <ac:spMkLst>
            <pc:docMk/>
            <pc:sldMk cId="2270713310" sldId="598"/>
            <ac:spMk id="84" creationId="{492A38A8-3B5D-8B46-40EA-4C4EDD6B7D31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26" creationId="{547479F3-9607-4581-8142-1D09D147583D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27" creationId="{BDA10210-5F4C-9A7B-ACC5-34A0DF6E7188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28" creationId="{962B4B26-64CC-79DB-2B4A-211E5C7FEC1C}"/>
          </ac:spMkLst>
        </pc:spChg>
        <pc:spChg chg="mod">
          <ac:chgData name="Auradee Castro" userId="5b47d84d-e816-421d-a9bd-ea845bdedce9" providerId="ADAL" clId="{ABC34375-8FCD-4B3B-8662-4D95808BABCB}" dt="2023-04-12T04:11:03.341" v="1149" actId="1035"/>
          <ac:spMkLst>
            <pc:docMk/>
            <pc:sldMk cId="2270713310" sldId="598"/>
            <ac:spMk id="129" creationId="{E05E9642-0443-4E3A-BF85-B808DD4CA586}"/>
          </ac:spMkLst>
        </pc:spChg>
        <pc:grpChg chg="add 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30" creationId="{07D8EC22-D5DB-5D52-5EEB-FC3D961B92CF}"/>
          </ac:grpSpMkLst>
        </pc:grpChg>
        <pc:grpChg chg="mod">
          <ac:chgData name="Auradee Castro" userId="5b47d84d-e816-421d-a9bd-ea845bdedce9" providerId="ADAL" clId="{ABC34375-8FCD-4B3B-8662-4D95808BABCB}" dt="2023-04-12T05:35:31.707" v="2277" actId="14100"/>
          <ac:grpSpMkLst>
            <pc:docMk/>
            <pc:sldMk cId="2270713310" sldId="598"/>
            <ac:grpSpMk id="39" creationId="{2244FCFA-415A-2FC0-BD3E-55C740F16A3F}"/>
          </ac:grpSpMkLst>
        </pc:grpChg>
        <pc:grpChg chg="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50" creationId="{C074825C-3988-3E07-9C98-66699B87058E}"/>
          </ac:grpSpMkLst>
        </pc:grpChg>
        <pc:grpChg chg="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52" creationId="{48D845CF-9E0C-B429-9775-0D484E01EA66}"/>
          </ac:grpSpMkLst>
        </pc:grpChg>
        <pc:grpChg chg="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58" creationId="{42E73C8D-8DE8-D7B3-5353-0907A4D9DE80}"/>
          </ac:grpSpMkLst>
        </pc:grpChg>
        <pc:grpChg chg="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61" creationId="{463B5678-DD8B-845F-10A5-57D58B5E15CA}"/>
          </ac:grpSpMkLst>
        </pc:grpChg>
        <pc:grpChg chg="mod">
          <ac:chgData name="Auradee Castro" userId="5b47d84d-e816-421d-a9bd-ea845bdedce9" providerId="ADAL" clId="{ABC34375-8FCD-4B3B-8662-4D95808BABCB}" dt="2023-04-12T04:11:03.341" v="1149" actId="1035"/>
          <ac:grpSpMkLst>
            <pc:docMk/>
            <pc:sldMk cId="2270713310" sldId="598"/>
            <ac:grpSpMk id="64" creationId="{F65EA050-8FA9-F285-87A3-ADEABCA86E66}"/>
          </ac:grpSpMkLst>
        </pc:grpChg>
        <pc:picChg chg="mod">
          <ac:chgData name="Auradee Castro" userId="5b47d84d-e816-421d-a9bd-ea845bdedce9" providerId="ADAL" clId="{ABC34375-8FCD-4B3B-8662-4D95808BABCB}" dt="2023-04-14T01:08:41.876" v="3092" actId="1076"/>
          <ac:picMkLst>
            <pc:docMk/>
            <pc:sldMk cId="2270713310" sldId="598"/>
            <ac:picMk id="4" creationId="{DBA91034-864C-8B5E-1E9F-7A4DB98FA648}"/>
          </ac:picMkLst>
        </pc:picChg>
        <pc:picChg chg="mod">
          <ac:chgData name="Auradee Castro" userId="5b47d84d-e816-421d-a9bd-ea845bdedce9" providerId="ADAL" clId="{ABC34375-8FCD-4B3B-8662-4D95808BABCB}" dt="2023-04-12T04:11:03.341" v="1149" actId="1035"/>
          <ac:picMkLst>
            <pc:docMk/>
            <pc:sldMk cId="2270713310" sldId="598"/>
            <ac:picMk id="32" creationId="{47334B4F-4322-D7B4-99B1-B4765BB6C0A5}"/>
          </ac:picMkLst>
        </pc:picChg>
        <pc:picChg chg="mod">
          <ac:chgData name="Auradee Castro" userId="5b47d84d-e816-421d-a9bd-ea845bdedce9" providerId="ADAL" clId="{ABC34375-8FCD-4B3B-8662-4D95808BABCB}" dt="2023-04-12T04:11:03.341" v="1149" actId="1035"/>
          <ac:picMkLst>
            <pc:docMk/>
            <pc:sldMk cId="2270713310" sldId="598"/>
            <ac:picMk id="33" creationId="{9886B12F-4C2D-761E-FCC6-2239DB73A8CA}"/>
          </ac:picMkLst>
        </pc:picChg>
        <pc:picChg chg="mod">
          <ac:chgData name="Auradee Castro" userId="5b47d84d-e816-421d-a9bd-ea845bdedce9" providerId="ADAL" clId="{ABC34375-8FCD-4B3B-8662-4D95808BABCB}" dt="2023-04-12T04:11:03.341" v="1149" actId="1035"/>
          <ac:picMkLst>
            <pc:docMk/>
            <pc:sldMk cId="2270713310" sldId="598"/>
            <ac:picMk id="34" creationId="{B2E45DCC-FF10-8FD1-4369-017CC908AA53}"/>
          </ac:picMkLst>
        </pc:picChg>
        <pc:picChg chg="mod">
          <ac:chgData name="Auradee Castro" userId="5b47d84d-e816-421d-a9bd-ea845bdedce9" providerId="ADAL" clId="{ABC34375-8FCD-4B3B-8662-4D95808BABCB}" dt="2023-04-12T04:11:03.341" v="1149" actId="1035"/>
          <ac:picMkLst>
            <pc:docMk/>
            <pc:sldMk cId="2270713310" sldId="598"/>
            <ac:picMk id="35" creationId="{7D577EC4-A2DD-AD24-E454-B239F0956124}"/>
          </ac:picMkLst>
        </pc:picChg>
        <pc:picChg chg="mod">
          <ac:chgData name="Auradee Castro" userId="5b47d84d-e816-421d-a9bd-ea845bdedce9" providerId="ADAL" clId="{ABC34375-8FCD-4B3B-8662-4D95808BABCB}" dt="2023-04-12T04:11:03.341" v="1149" actId="1035"/>
          <ac:picMkLst>
            <pc:docMk/>
            <pc:sldMk cId="2270713310" sldId="598"/>
            <ac:picMk id="36" creationId="{64A5C6D0-36EF-0864-CC16-CBD82913197D}"/>
          </ac:picMkLst>
        </pc:picChg>
        <pc:picChg chg="mod">
          <ac:chgData name="Auradee Castro" userId="5b47d84d-e816-421d-a9bd-ea845bdedce9" providerId="ADAL" clId="{ABC34375-8FCD-4B3B-8662-4D95808BABCB}" dt="2023-04-12T04:17:51.724" v="1224" actId="1076"/>
          <ac:picMkLst>
            <pc:docMk/>
            <pc:sldMk cId="2270713310" sldId="598"/>
            <ac:picMk id="70" creationId="{6B4209CA-FC52-CFD1-8EC3-49D83F3BCB1A}"/>
          </ac:picMkLst>
        </pc:picChg>
        <pc:picChg chg="mod">
          <ac:chgData name="Auradee Castro" userId="5b47d84d-e816-421d-a9bd-ea845bdedce9" providerId="ADAL" clId="{ABC34375-8FCD-4B3B-8662-4D95808BABCB}" dt="2023-04-12T04:22:54.977" v="1255" actId="1076"/>
          <ac:picMkLst>
            <pc:docMk/>
            <pc:sldMk cId="2270713310" sldId="598"/>
            <ac:picMk id="79" creationId="{56FD70D9-530E-AB96-5F32-222B4E4518D9}"/>
          </ac:picMkLst>
        </pc:picChg>
        <pc:picChg chg="mod">
          <ac:chgData name="Auradee Castro" userId="5b47d84d-e816-421d-a9bd-ea845bdedce9" providerId="ADAL" clId="{ABC34375-8FCD-4B3B-8662-4D95808BABCB}" dt="2023-04-12T04:17:47.358" v="1223" actId="1076"/>
          <ac:picMkLst>
            <pc:docMk/>
            <pc:sldMk cId="2270713310" sldId="598"/>
            <ac:picMk id="1026" creationId="{F643AD0D-A7E7-36A0-3794-C9DED26CD08E}"/>
          </ac:picMkLst>
        </pc:picChg>
        <pc:picChg chg="mod">
          <ac:chgData name="Auradee Castro" userId="5b47d84d-e816-421d-a9bd-ea845bdedce9" providerId="ADAL" clId="{ABC34375-8FCD-4B3B-8662-4D95808BABCB}" dt="2023-04-12T05:35:31.707" v="2277" actId="14100"/>
          <ac:picMkLst>
            <pc:docMk/>
            <pc:sldMk cId="2270713310" sldId="598"/>
            <ac:picMk id="1028" creationId="{024E302B-F66A-42CD-0225-0E4B41919E3E}"/>
          </ac:picMkLst>
        </pc:picChg>
        <pc:picChg chg="mod">
          <ac:chgData name="Auradee Castro" userId="5b47d84d-e816-421d-a9bd-ea845bdedce9" providerId="ADAL" clId="{ABC34375-8FCD-4B3B-8662-4D95808BABCB}" dt="2023-04-12T04:25:35.903" v="1366" actId="1076"/>
          <ac:picMkLst>
            <pc:docMk/>
            <pc:sldMk cId="2270713310" sldId="598"/>
            <ac:picMk id="1044" creationId="{BA245991-5EA3-2C08-82C9-CBEB383EA6F2}"/>
          </ac:picMkLst>
        </pc:picChg>
        <pc:picChg chg="mod">
          <ac:chgData name="Auradee Castro" userId="5b47d84d-e816-421d-a9bd-ea845bdedce9" providerId="ADAL" clId="{ABC34375-8FCD-4B3B-8662-4D95808BABCB}" dt="2023-04-14T01:08:43.442" v="3093" actId="1076"/>
          <ac:picMkLst>
            <pc:docMk/>
            <pc:sldMk cId="2270713310" sldId="598"/>
            <ac:picMk id="1046" creationId="{BF6B4C31-1FAA-7456-15A4-E822D95B299B}"/>
          </ac:picMkLst>
        </pc:picChg>
        <pc:picChg chg="mod">
          <ac:chgData name="Auradee Castro" userId="5b47d84d-e816-421d-a9bd-ea845bdedce9" providerId="ADAL" clId="{ABC34375-8FCD-4B3B-8662-4D95808BABCB}" dt="2023-04-12T04:28:21.508" v="1419" actId="1076"/>
          <ac:picMkLst>
            <pc:docMk/>
            <pc:sldMk cId="2270713310" sldId="598"/>
            <ac:picMk id="2050" creationId="{8AC29B49-AB04-2019-A4DE-092A0D1D57B5}"/>
          </ac:picMkLst>
        </pc:picChg>
        <pc:cxnChg chg="mod">
          <ac:chgData name="Auradee Castro" userId="5b47d84d-e816-421d-a9bd-ea845bdedce9" providerId="ADAL" clId="{ABC34375-8FCD-4B3B-8662-4D95808BABCB}" dt="2023-04-12T04:19:23.030" v="1235" actId="14100"/>
          <ac:cxnSpMkLst>
            <pc:docMk/>
            <pc:sldMk cId="2270713310" sldId="598"/>
            <ac:cxnSpMk id="3" creationId="{18472552-2D94-AAC1-41F8-A98A2B57E85A}"/>
          </ac:cxnSpMkLst>
        </pc:cxnChg>
        <pc:cxnChg chg="mod">
          <ac:chgData name="Auradee Castro" userId="5b47d84d-e816-421d-a9bd-ea845bdedce9" providerId="ADAL" clId="{ABC34375-8FCD-4B3B-8662-4D95808BABCB}" dt="2023-04-12T04:11:03.341" v="1149" actId="1035"/>
          <ac:cxnSpMkLst>
            <pc:docMk/>
            <pc:sldMk cId="2270713310" sldId="598"/>
            <ac:cxnSpMk id="16" creationId="{315FF501-2A3A-7301-238B-2AA170D24ABF}"/>
          </ac:cxnSpMkLst>
        </pc:cxnChg>
        <pc:cxnChg chg="mod">
          <ac:chgData name="Auradee Castro" userId="5b47d84d-e816-421d-a9bd-ea845bdedce9" providerId="ADAL" clId="{ABC34375-8FCD-4B3B-8662-4D95808BABCB}" dt="2023-04-12T04:18:11.117" v="1225" actId="14100"/>
          <ac:cxnSpMkLst>
            <pc:docMk/>
            <pc:sldMk cId="2270713310" sldId="598"/>
            <ac:cxnSpMk id="21" creationId="{35D1EBB1-D891-B8F6-3B8F-DEB018AC6A8B}"/>
          </ac:cxnSpMkLst>
        </pc:cxnChg>
        <pc:cxnChg chg="mod">
          <ac:chgData name="Auradee Castro" userId="5b47d84d-e816-421d-a9bd-ea845bdedce9" providerId="ADAL" clId="{ABC34375-8FCD-4B3B-8662-4D95808BABCB}" dt="2023-04-12T04:18:35.136" v="1228" actId="14100"/>
          <ac:cxnSpMkLst>
            <pc:docMk/>
            <pc:sldMk cId="2270713310" sldId="598"/>
            <ac:cxnSpMk id="22" creationId="{3D84FD24-EEBB-6C07-A276-F3F83800DCC7}"/>
          </ac:cxnSpMkLst>
        </pc:cxnChg>
        <pc:cxnChg chg="mod">
          <ac:chgData name="Auradee Castro" userId="5b47d84d-e816-421d-a9bd-ea845bdedce9" providerId="ADAL" clId="{ABC34375-8FCD-4B3B-8662-4D95808BABCB}" dt="2023-04-12T04:18:57.575" v="1231" actId="14100"/>
          <ac:cxnSpMkLst>
            <pc:docMk/>
            <pc:sldMk cId="2270713310" sldId="598"/>
            <ac:cxnSpMk id="23" creationId="{FE749042-19EE-B922-89AD-0A4363E64D3F}"/>
          </ac:cxnSpMkLst>
        </pc:cxnChg>
        <pc:cxnChg chg="mod">
          <ac:chgData name="Auradee Castro" userId="5b47d84d-e816-421d-a9bd-ea845bdedce9" providerId="ADAL" clId="{ABC34375-8FCD-4B3B-8662-4D95808BABCB}" dt="2023-04-12T04:19:18.250" v="1234" actId="14100"/>
          <ac:cxnSpMkLst>
            <pc:docMk/>
            <pc:sldMk cId="2270713310" sldId="598"/>
            <ac:cxnSpMk id="78" creationId="{93C56FD9-2EA9-BEF4-F1AC-398314F8D198}"/>
          </ac:cxnSpMkLst>
        </pc:cxnChg>
        <pc:cxnChg chg="mod">
          <ac:chgData name="Auradee Castro" userId="5b47d84d-e816-421d-a9bd-ea845bdedce9" providerId="ADAL" clId="{ABC34375-8FCD-4B3B-8662-4D95808BABCB}" dt="2023-04-12T04:11:03.341" v="1149" actId="1035"/>
          <ac:cxnSpMkLst>
            <pc:docMk/>
            <pc:sldMk cId="2270713310" sldId="598"/>
            <ac:cxnSpMk id="90" creationId="{A80B7CAF-CBD3-547F-8771-B49203EFDA02}"/>
          </ac:cxnSpMkLst>
        </pc:cxnChg>
      </pc:sldChg>
      <pc:sldChg chg="addSp delSp modSp mod">
        <pc:chgData name="Auradee Castro" userId="5b47d84d-e816-421d-a9bd-ea845bdedce9" providerId="ADAL" clId="{ABC34375-8FCD-4B3B-8662-4D95808BABCB}" dt="2023-04-14T00:46:02.966" v="3023" actId="478"/>
        <pc:sldMkLst>
          <pc:docMk/>
          <pc:sldMk cId="4008453649" sldId="604"/>
        </pc:sldMkLst>
        <pc:spChg chg="mod">
          <ac:chgData name="Auradee Castro" userId="5b47d84d-e816-421d-a9bd-ea845bdedce9" providerId="ADAL" clId="{ABC34375-8FCD-4B3B-8662-4D95808BABCB}" dt="2023-04-12T05:38:26.079" v="2285" actId="20577"/>
          <ac:spMkLst>
            <pc:docMk/>
            <pc:sldMk cId="4008453649" sldId="604"/>
            <ac:spMk id="2" creationId="{8F9128BC-1D37-66AB-858A-60235B0D02F9}"/>
          </ac:spMkLst>
        </pc:spChg>
        <pc:spChg chg="add del mod">
          <ac:chgData name="Auradee Castro" userId="5b47d84d-e816-421d-a9bd-ea845bdedce9" providerId="ADAL" clId="{ABC34375-8FCD-4B3B-8662-4D95808BABCB}" dt="2023-04-14T00:46:02.966" v="3023" actId="478"/>
          <ac:spMkLst>
            <pc:docMk/>
            <pc:sldMk cId="4008453649" sldId="604"/>
            <ac:spMk id="11" creationId="{E065609D-EF8B-8D1C-E30F-599FF4BB6D1B}"/>
          </ac:spMkLst>
        </pc:spChg>
        <pc:spChg chg="del mod">
          <ac:chgData name="Auradee Castro" userId="5b47d84d-e816-421d-a9bd-ea845bdedce9" providerId="ADAL" clId="{ABC34375-8FCD-4B3B-8662-4D95808BABCB}" dt="2023-04-12T05:16:55.793" v="2128" actId="21"/>
          <ac:spMkLst>
            <pc:docMk/>
            <pc:sldMk cId="4008453649" sldId="604"/>
            <ac:spMk id="24" creationId="{425C224F-CB61-6A7F-E057-9410AD5E58E0}"/>
          </ac:spMkLst>
        </pc:spChg>
        <pc:spChg chg="mod">
          <ac:chgData name="Auradee Castro" userId="5b47d84d-e816-421d-a9bd-ea845bdedce9" providerId="ADAL" clId="{ABC34375-8FCD-4B3B-8662-4D95808BABCB}" dt="2023-04-12T05:09:43.947" v="2020" actId="1037"/>
          <ac:spMkLst>
            <pc:docMk/>
            <pc:sldMk cId="4008453649" sldId="604"/>
            <ac:spMk id="26" creationId="{5AC3697F-6982-D642-1793-F336AC767421}"/>
          </ac:spMkLst>
        </pc:spChg>
        <pc:spChg chg="mod">
          <ac:chgData name="Auradee Castro" userId="5b47d84d-e816-421d-a9bd-ea845bdedce9" providerId="ADAL" clId="{ABC34375-8FCD-4B3B-8662-4D95808BABCB}" dt="2023-04-12T05:19:29.515" v="2170" actId="20577"/>
          <ac:spMkLst>
            <pc:docMk/>
            <pc:sldMk cId="4008453649" sldId="604"/>
            <ac:spMk id="27" creationId="{3A8E8C6A-580A-3B5A-5FB7-D230A786FADE}"/>
          </ac:spMkLst>
        </pc:spChg>
        <pc:spChg chg="mod">
          <ac:chgData name="Auradee Castro" userId="5b47d84d-e816-421d-a9bd-ea845bdedce9" providerId="ADAL" clId="{ABC34375-8FCD-4B3B-8662-4D95808BABCB}" dt="2023-04-12T05:20:06.087" v="2174" actId="1076"/>
          <ac:spMkLst>
            <pc:docMk/>
            <pc:sldMk cId="4008453649" sldId="604"/>
            <ac:spMk id="35" creationId="{AC9E11CE-AA4E-5386-609D-BE02B821CA0F}"/>
          </ac:spMkLst>
        </pc:spChg>
        <pc:spChg chg="mod">
          <ac:chgData name="Auradee Castro" userId="5b47d84d-e816-421d-a9bd-ea845bdedce9" providerId="ADAL" clId="{ABC34375-8FCD-4B3B-8662-4D95808BABCB}" dt="2023-04-12T05:20:26.894" v="2181" actId="255"/>
          <ac:spMkLst>
            <pc:docMk/>
            <pc:sldMk cId="4008453649" sldId="604"/>
            <ac:spMk id="46" creationId="{2F4F2E94-F516-12F0-56B6-88EC9D31EEE3}"/>
          </ac:spMkLst>
        </pc:spChg>
        <pc:spChg chg="mod">
          <ac:chgData name="Auradee Castro" userId="5b47d84d-e816-421d-a9bd-ea845bdedce9" providerId="ADAL" clId="{ABC34375-8FCD-4B3B-8662-4D95808BABCB}" dt="2023-04-12T05:11:44.364" v="2048" actId="122"/>
          <ac:spMkLst>
            <pc:docMk/>
            <pc:sldMk cId="4008453649" sldId="604"/>
            <ac:spMk id="49" creationId="{B919168B-FEB3-0904-995B-4CDAF0DB151F}"/>
          </ac:spMkLst>
        </pc:spChg>
        <pc:spChg chg="mod">
          <ac:chgData name="Auradee Castro" userId="5b47d84d-e816-421d-a9bd-ea845bdedce9" providerId="ADAL" clId="{ABC34375-8FCD-4B3B-8662-4D95808BABCB}" dt="2023-04-12T05:09:21.844" v="2013" actId="1076"/>
          <ac:spMkLst>
            <pc:docMk/>
            <pc:sldMk cId="4008453649" sldId="604"/>
            <ac:spMk id="50" creationId="{9057268B-433B-A065-C201-B11D416E8BD8}"/>
          </ac:spMkLst>
        </pc:spChg>
        <pc:spChg chg="mod">
          <ac:chgData name="Auradee Castro" userId="5b47d84d-e816-421d-a9bd-ea845bdedce9" providerId="ADAL" clId="{ABC34375-8FCD-4B3B-8662-4D95808BABCB}" dt="2023-04-12T05:21:37.823" v="2213" actId="14100"/>
          <ac:spMkLst>
            <pc:docMk/>
            <pc:sldMk cId="4008453649" sldId="604"/>
            <ac:spMk id="51" creationId="{E5DCE7CD-4D4E-6F71-1ED4-3116BAFE78C1}"/>
          </ac:spMkLst>
        </pc:spChg>
        <pc:spChg chg="mod">
          <ac:chgData name="Auradee Castro" userId="5b47d84d-e816-421d-a9bd-ea845bdedce9" providerId="ADAL" clId="{ABC34375-8FCD-4B3B-8662-4D95808BABCB}" dt="2023-04-12T05:08:46.329" v="2009" actId="14100"/>
          <ac:spMkLst>
            <pc:docMk/>
            <pc:sldMk cId="4008453649" sldId="604"/>
            <ac:spMk id="54" creationId="{7CF55A49-EB64-CE0C-E4F2-6965442B0005}"/>
          </ac:spMkLst>
        </pc:spChg>
        <pc:spChg chg="mod">
          <ac:chgData name="Auradee Castro" userId="5b47d84d-e816-421d-a9bd-ea845bdedce9" providerId="ADAL" clId="{ABC34375-8FCD-4B3B-8662-4D95808BABCB}" dt="2023-04-12T05:10:23.937" v="2039" actId="14100"/>
          <ac:spMkLst>
            <pc:docMk/>
            <pc:sldMk cId="4008453649" sldId="604"/>
            <ac:spMk id="56" creationId="{51781712-9D58-4CF3-9C85-73E5DF4D7D2E}"/>
          </ac:spMkLst>
        </pc:spChg>
        <pc:spChg chg="mod">
          <ac:chgData name="Auradee Castro" userId="5b47d84d-e816-421d-a9bd-ea845bdedce9" providerId="ADAL" clId="{ABC34375-8FCD-4B3B-8662-4D95808BABCB}" dt="2023-04-12T05:21:44.457" v="2214" actId="1076"/>
          <ac:spMkLst>
            <pc:docMk/>
            <pc:sldMk cId="4008453649" sldId="604"/>
            <ac:spMk id="57" creationId="{E7340A8F-EFAF-D11D-DB91-982240AE1198}"/>
          </ac:spMkLst>
        </pc:spChg>
        <pc:spChg chg="mod">
          <ac:chgData name="Auradee Castro" userId="5b47d84d-e816-421d-a9bd-ea845bdedce9" providerId="ADAL" clId="{ABC34375-8FCD-4B3B-8662-4D95808BABCB}" dt="2023-04-12T05:19:04.819" v="2168" actId="20577"/>
          <ac:spMkLst>
            <pc:docMk/>
            <pc:sldMk cId="4008453649" sldId="604"/>
            <ac:spMk id="62" creationId="{B56EAF3C-3E2E-DFA6-05BA-49C2E85265D9}"/>
          </ac:spMkLst>
        </pc:spChg>
        <pc:spChg chg="mod">
          <ac:chgData name="Auradee Castro" userId="5b47d84d-e816-421d-a9bd-ea845bdedce9" providerId="ADAL" clId="{ABC34375-8FCD-4B3B-8662-4D95808BABCB}" dt="2023-04-12T05:21:02.086" v="2209" actId="20577"/>
          <ac:spMkLst>
            <pc:docMk/>
            <pc:sldMk cId="4008453649" sldId="604"/>
            <ac:spMk id="67" creationId="{45E23E6B-EE20-53B3-7258-6302D1B2B9D7}"/>
          </ac:spMkLst>
        </pc:spChg>
        <pc:spChg chg="mod">
          <ac:chgData name="Auradee Castro" userId="5b47d84d-e816-421d-a9bd-ea845bdedce9" providerId="ADAL" clId="{ABC34375-8FCD-4B3B-8662-4D95808BABCB}" dt="2023-04-12T05:14:01.031" v="2087" actId="20577"/>
          <ac:spMkLst>
            <pc:docMk/>
            <pc:sldMk cId="4008453649" sldId="604"/>
            <ac:spMk id="73" creationId="{9BE2350A-D31C-596C-4591-3AAD6D5AE7AC}"/>
          </ac:spMkLst>
        </pc:spChg>
        <pc:spChg chg="mod">
          <ac:chgData name="Auradee Castro" userId="5b47d84d-e816-421d-a9bd-ea845bdedce9" providerId="ADAL" clId="{ABC34375-8FCD-4B3B-8662-4D95808BABCB}" dt="2023-04-12T05:07:28.225" v="2006" actId="113"/>
          <ac:spMkLst>
            <pc:docMk/>
            <pc:sldMk cId="4008453649" sldId="604"/>
            <ac:spMk id="95" creationId="{5C9D86F3-194F-0954-1D2E-97B26A6B9FCE}"/>
          </ac:spMkLst>
        </pc:spChg>
        <pc:spChg chg="mod">
          <ac:chgData name="Auradee Castro" userId="5b47d84d-e816-421d-a9bd-ea845bdedce9" providerId="ADAL" clId="{ABC34375-8FCD-4B3B-8662-4D95808BABCB}" dt="2023-04-12T05:14:40.911" v="2116" actId="20577"/>
          <ac:spMkLst>
            <pc:docMk/>
            <pc:sldMk cId="4008453649" sldId="604"/>
            <ac:spMk id="98" creationId="{2FEEFF2B-50FF-2F80-8162-484D28890FBB}"/>
          </ac:spMkLst>
        </pc:spChg>
        <pc:spChg chg="mod">
          <ac:chgData name="Auradee Castro" userId="5b47d84d-e816-421d-a9bd-ea845bdedce9" providerId="ADAL" clId="{ABC34375-8FCD-4B3B-8662-4D95808BABCB}" dt="2023-04-12T05:13:37.586" v="2078" actId="20577"/>
          <ac:spMkLst>
            <pc:docMk/>
            <pc:sldMk cId="4008453649" sldId="604"/>
            <ac:spMk id="102" creationId="{F95C08DC-A326-EC4E-C19A-2AD7B5F18690}"/>
          </ac:spMkLst>
        </pc:spChg>
        <pc:spChg chg="mod">
          <ac:chgData name="Auradee Castro" userId="5b47d84d-e816-421d-a9bd-ea845bdedce9" providerId="ADAL" clId="{ABC34375-8FCD-4B3B-8662-4D95808BABCB}" dt="2023-04-12T05:17:53.842" v="2149" actId="1038"/>
          <ac:spMkLst>
            <pc:docMk/>
            <pc:sldMk cId="4008453649" sldId="604"/>
            <ac:spMk id="107" creationId="{D81F4F70-42AD-DAD4-EAC9-0CD75EC2A2D6}"/>
          </ac:spMkLst>
        </pc:spChg>
        <pc:spChg chg="mod">
          <ac:chgData name="Auradee Castro" userId="5b47d84d-e816-421d-a9bd-ea845bdedce9" providerId="ADAL" clId="{ABC34375-8FCD-4B3B-8662-4D95808BABCB}" dt="2023-04-12T05:17:53.842" v="2149" actId="1038"/>
          <ac:spMkLst>
            <pc:docMk/>
            <pc:sldMk cId="4008453649" sldId="604"/>
            <ac:spMk id="109" creationId="{BE86FAA1-DEF2-6525-9D8F-B29E447E1B28}"/>
          </ac:spMkLst>
        </pc:spChg>
        <pc:spChg chg="mod">
          <ac:chgData name="Auradee Castro" userId="5b47d84d-e816-421d-a9bd-ea845bdedce9" providerId="ADAL" clId="{ABC34375-8FCD-4B3B-8662-4D95808BABCB}" dt="2023-04-12T05:17:53.842" v="2149" actId="1038"/>
          <ac:spMkLst>
            <pc:docMk/>
            <pc:sldMk cId="4008453649" sldId="604"/>
            <ac:spMk id="113" creationId="{00B239E0-F60D-41BD-9027-9CBB147320CA}"/>
          </ac:spMkLst>
        </pc:spChg>
        <pc:spChg chg="mod">
          <ac:chgData name="Auradee Castro" userId="5b47d84d-e816-421d-a9bd-ea845bdedce9" providerId="ADAL" clId="{ABC34375-8FCD-4B3B-8662-4D95808BABCB}" dt="2023-04-12T05:17:53.842" v="2149" actId="1038"/>
          <ac:spMkLst>
            <pc:docMk/>
            <pc:sldMk cId="4008453649" sldId="604"/>
            <ac:spMk id="114" creationId="{000AAA09-85FE-BBDD-6F28-0F249686B04C}"/>
          </ac:spMkLst>
        </pc:spChg>
        <pc:spChg chg="mod">
          <ac:chgData name="Auradee Castro" userId="5b47d84d-e816-421d-a9bd-ea845bdedce9" providerId="ADAL" clId="{ABC34375-8FCD-4B3B-8662-4D95808BABCB}" dt="2023-04-12T05:17:53.842" v="2149" actId="1038"/>
          <ac:spMkLst>
            <pc:docMk/>
            <pc:sldMk cId="4008453649" sldId="604"/>
            <ac:spMk id="115" creationId="{CC703441-B1EC-442D-46E5-E44B686BFDF5}"/>
          </ac:spMkLst>
        </pc:spChg>
        <pc:spChg chg="mod">
          <ac:chgData name="Auradee Castro" userId="5b47d84d-e816-421d-a9bd-ea845bdedce9" providerId="ADAL" clId="{ABC34375-8FCD-4B3B-8662-4D95808BABCB}" dt="2023-04-12T05:07:30.479" v="2007" actId="113"/>
          <ac:spMkLst>
            <pc:docMk/>
            <pc:sldMk cId="4008453649" sldId="604"/>
            <ac:spMk id="127" creationId="{5C21D102-FC38-0AA8-BFA4-F93E93551240}"/>
          </ac:spMkLst>
        </pc:spChg>
        <pc:grpChg chg="mod">
          <ac:chgData name="Auradee Castro" userId="5b47d84d-e816-421d-a9bd-ea845bdedce9" providerId="ADAL" clId="{ABC34375-8FCD-4B3B-8662-4D95808BABCB}" dt="2023-04-12T05:23:18.998" v="2233" actId="14100"/>
          <ac:grpSpMkLst>
            <pc:docMk/>
            <pc:sldMk cId="4008453649" sldId="604"/>
            <ac:grpSpMk id="64" creationId="{9B703834-E084-41B9-AF35-C0FF489DF15E}"/>
          </ac:grpSpMkLst>
        </pc:grpChg>
        <pc:grpChg chg="mod">
          <ac:chgData name="Auradee Castro" userId="5b47d84d-e816-421d-a9bd-ea845bdedce9" providerId="ADAL" clId="{ABC34375-8FCD-4B3B-8662-4D95808BABCB}" dt="2023-04-12T05:23:35.248" v="2235" actId="14100"/>
          <ac:grpSpMkLst>
            <pc:docMk/>
            <pc:sldMk cId="4008453649" sldId="604"/>
            <ac:grpSpMk id="94" creationId="{ED4469D4-5FF3-49BB-AEA2-93163F9CEF1A}"/>
          </ac:grpSpMkLst>
        </pc:grpChg>
        <pc:grpChg chg="mod">
          <ac:chgData name="Auradee Castro" userId="5b47d84d-e816-421d-a9bd-ea845bdedce9" providerId="ADAL" clId="{ABC34375-8FCD-4B3B-8662-4D95808BABCB}" dt="2023-04-12T05:17:53.842" v="2149" actId="1038"/>
          <ac:grpSpMkLst>
            <pc:docMk/>
            <pc:sldMk cId="4008453649" sldId="604"/>
            <ac:grpSpMk id="126" creationId="{C06F1783-9D32-11EC-0711-69DA16ABE135}"/>
          </ac:grpSpMkLst>
        </pc:grpChg>
        <pc:grpChg chg="mod">
          <ac:chgData name="Auradee Castro" userId="5b47d84d-e816-421d-a9bd-ea845bdedce9" providerId="ADAL" clId="{ABC34375-8FCD-4B3B-8662-4D95808BABCB}" dt="2023-04-12T05:17:53.842" v="2149" actId="1038"/>
          <ac:grpSpMkLst>
            <pc:docMk/>
            <pc:sldMk cId="4008453649" sldId="604"/>
            <ac:grpSpMk id="129" creationId="{83F8A149-CFD5-32A9-8494-E3326E3E7483}"/>
          </ac:grpSpMkLst>
        </pc:grpChg>
        <pc:picChg chg="mod">
          <ac:chgData name="Auradee Castro" userId="5b47d84d-e816-421d-a9bd-ea845bdedce9" providerId="ADAL" clId="{ABC34375-8FCD-4B3B-8662-4D95808BABCB}" dt="2023-04-12T05:22:49.847" v="2231" actId="14100"/>
          <ac:picMkLst>
            <pc:docMk/>
            <pc:sldMk cId="4008453649" sldId="604"/>
            <ac:picMk id="100" creationId="{44D523FE-BA79-FE17-CD86-2175F39520D3}"/>
          </ac:picMkLst>
        </pc:picChg>
        <pc:picChg chg="mod">
          <ac:chgData name="Auradee Castro" userId="5b47d84d-e816-421d-a9bd-ea845bdedce9" providerId="ADAL" clId="{ABC34375-8FCD-4B3B-8662-4D95808BABCB}" dt="2023-04-12T05:22:27.149" v="2228" actId="14100"/>
          <ac:picMkLst>
            <pc:docMk/>
            <pc:sldMk cId="4008453649" sldId="604"/>
            <ac:picMk id="124" creationId="{DCF01018-7B83-E908-5BBC-C2033BFD8B82}"/>
          </ac:picMkLst>
        </pc:picChg>
        <pc:picChg chg="mod">
          <ac:chgData name="Auradee Castro" userId="5b47d84d-e816-421d-a9bd-ea845bdedce9" providerId="ADAL" clId="{ABC34375-8FCD-4B3B-8662-4D95808BABCB}" dt="2023-04-12T05:22:41.829" v="2230" actId="1076"/>
          <ac:picMkLst>
            <pc:docMk/>
            <pc:sldMk cId="4008453649" sldId="604"/>
            <ac:picMk id="125" creationId="{583508FE-0964-F111-1B7A-7A3A85195A78}"/>
          </ac:picMkLst>
        </pc:picChg>
        <pc:cxnChg chg="mod">
          <ac:chgData name="Auradee Castro" userId="5b47d84d-e816-421d-a9bd-ea845bdedce9" providerId="ADAL" clId="{ABC34375-8FCD-4B3B-8662-4D95808BABCB}" dt="2023-04-12T05:17:53.842" v="2149" actId="1038"/>
          <ac:cxnSpMkLst>
            <pc:docMk/>
            <pc:sldMk cId="4008453649" sldId="604"/>
            <ac:cxnSpMk id="110" creationId="{C6A40630-DE55-85CC-B060-6E2CDD221899}"/>
          </ac:cxnSpMkLst>
        </pc:cxnChg>
        <pc:cxnChg chg="mod">
          <ac:chgData name="Auradee Castro" userId="5b47d84d-e816-421d-a9bd-ea845bdedce9" providerId="ADAL" clId="{ABC34375-8FCD-4B3B-8662-4D95808BABCB}" dt="2023-04-12T05:17:53.842" v="2149" actId="1038"/>
          <ac:cxnSpMkLst>
            <pc:docMk/>
            <pc:sldMk cId="4008453649" sldId="604"/>
            <ac:cxnSpMk id="130" creationId="{96617E30-D9D0-21A4-0B2B-277BB33F8537}"/>
          </ac:cxnSpMkLst>
        </pc:cxnChg>
      </pc:sldChg>
      <pc:sldChg chg="addSp delSp modSp del mod ord">
        <pc:chgData name="Auradee Castro" userId="5b47d84d-e816-421d-a9bd-ea845bdedce9" providerId="ADAL" clId="{ABC34375-8FCD-4B3B-8662-4D95808BABCB}" dt="2023-04-13T21:59:28.328" v="2880" actId="2696"/>
        <pc:sldMkLst>
          <pc:docMk/>
          <pc:sldMk cId="1828099841" sldId="605"/>
        </pc:sldMkLst>
        <pc:spChg chg="mod">
          <ac:chgData name="Auradee Castro" userId="5b47d84d-e816-421d-a9bd-ea845bdedce9" providerId="ADAL" clId="{ABC34375-8FCD-4B3B-8662-4D95808BABCB}" dt="2023-04-13T21:50:10.361" v="2810" actId="20577"/>
          <ac:spMkLst>
            <pc:docMk/>
            <pc:sldMk cId="1828099841" sldId="605"/>
            <ac:spMk id="2" creationId="{8F9128BC-1D37-66AB-858A-60235B0D02F9}"/>
          </ac:spMkLst>
        </pc:spChg>
        <pc:spChg chg="add del mod">
          <ac:chgData name="Auradee Castro" userId="5b47d84d-e816-421d-a9bd-ea845bdedce9" providerId="ADAL" clId="{ABC34375-8FCD-4B3B-8662-4D95808BABCB}" dt="2023-04-12T05:23:56.986" v="2236" actId="21"/>
          <ac:spMkLst>
            <pc:docMk/>
            <pc:sldMk cId="1828099841" sldId="605"/>
            <ac:spMk id="3" creationId="{8CE25F4D-EE0D-652B-26D0-32EC68B3D2AE}"/>
          </ac:spMkLst>
        </pc:spChg>
        <pc:spChg chg="add mod">
          <ac:chgData name="Auradee Castro" userId="5b47d84d-e816-421d-a9bd-ea845bdedce9" providerId="ADAL" clId="{ABC34375-8FCD-4B3B-8662-4D95808BABCB}" dt="2023-04-12T06:12:24.679" v="2761" actId="20577"/>
          <ac:spMkLst>
            <pc:docMk/>
            <pc:sldMk cId="1828099841" sldId="605"/>
            <ac:spMk id="4" creationId="{FCCBD1D2-E3E6-8F1F-0378-DBA71DB22CF1}"/>
          </ac:spMkLst>
        </pc:spChg>
        <pc:picChg chg="add mod">
          <ac:chgData name="Auradee Castro" userId="5b47d84d-e816-421d-a9bd-ea845bdedce9" providerId="ADAL" clId="{ABC34375-8FCD-4B3B-8662-4D95808BABCB}" dt="2023-04-12T06:02:06.374" v="2607" actId="1076"/>
          <ac:picMkLst>
            <pc:docMk/>
            <pc:sldMk cId="1828099841" sldId="605"/>
            <ac:picMk id="6" creationId="{8F80F2BB-4F2E-2D86-6A0F-F2004E807247}"/>
          </ac:picMkLst>
        </pc:picChg>
      </pc:sldChg>
      <pc:sldChg chg="modSp mod">
        <pc:chgData name="Auradee Castro" userId="5b47d84d-e816-421d-a9bd-ea845bdedce9" providerId="ADAL" clId="{ABC34375-8FCD-4B3B-8662-4D95808BABCB}" dt="2023-04-12T05:02:58.728" v="1992" actId="20577"/>
        <pc:sldMkLst>
          <pc:docMk/>
          <pc:sldMk cId="1556697206" sldId="607"/>
        </pc:sldMkLst>
        <pc:spChg chg="mod">
          <ac:chgData name="Auradee Castro" userId="5b47d84d-e816-421d-a9bd-ea845bdedce9" providerId="ADAL" clId="{ABC34375-8FCD-4B3B-8662-4D95808BABCB}" dt="2023-04-12T04:29:13.055" v="1421" actId="255"/>
          <ac:spMkLst>
            <pc:docMk/>
            <pc:sldMk cId="1556697206" sldId="607"/>
            <ac:spMk id="26" creationId="{024E97BD-2F8A-58C7-13C3-AF56C069B4A0}"/>
          </ac:spMkLst>
        </pc:spChg>
        <pc:spChg chg="mod">
          <ac:chgData name="Auradee Castro" userId="5b47d84d-e816-421d-a9bd-ea845bdedce9" providerId="ADAL" clId="{ABC34375-8FCD-4B3B-8662-4D95808BABCB}" dt="2023-04-12T04:59:43.765" v="1882" actId="113"/>
          <ac:spMkLst>
            <pc:docMk/>
            <pc:sldMk cId="1556697206" sldId="607"/>
            <ac:spMk id="52" creationId="{C1753F8C-7FAD-84FA-DD94-C584FCCA865B}"/>
          </ac:spMkLst>
        </pc:spChg>
        <pc:spChg chg="mod">
          <ac:chgData name="Auradee Castro" userId="5b47d84d-e816-421d-a9bd-ea845bdedce9" providerId="ADAL" clId="{ABC34375-8FCD-4B3B-8662-4D95808BABCB}" dt="2023-04-12T04:59:46.333" v="1883" actId="113"/>
          <ac:spMkLst>
            <pc:docMk/>
            <pc:sldMk cId="1556697206" sldId="607"/>
            <ac:spMk id="64" creationId="{1D98501A-3D36-FA7C-0A02-3030CC782BCA}"/>
          </ac:spMkLst>
        </pc:spChg>
        <pc:spChg chg="mod">
          <ac:chgData name="Auradee Castro" userId="5b47d84d-e816-421d-a9bd-ea845bdedce9" providerId="ADAL" clId="{ABC34375-8FCD-4B3B-8662-4D95808BABCB}" dt="2023-04-12T05:02:58.728" v="1992" actId="20577"/>
          <ac:spMkLst>
            <pc:docMk/>
            <pc:sldMk cId="1556697206" sldId="607"/>
            <ac:spMk id="71" creationId="{F87EE616-5E7B-DE17-B746-3F31899251CE}"/>
          </ac:spMkLst>
        </pc:spChg>
        <pc:spChg chg="mod">
          <ac:chgData name="Auradee Castro" userId="5b47d84d-e816-421d-a9bd-ea845bdedce9" providerId="ADAL" clId="{ABC34375-8FCD-4B3B-8662-4D95808BABCB}" dt="2023-04-12T04:59:11.603" v="1881" actId="20577"/>
          <ac:spMkLst>
            <pc:docMk/>
            <pc:sldMk cId="1556697206" sldId="607"/>
            <ac:spMk id="75" creationId="{C2B09971-54AF-516E-27D8-123A99FDEABA}"/>
          </ac:spMkLst>
        </pc:spChg>
        <pc:cxnChg chg="mod">
          <ac:chgData name="Auradee Castro" userId="5b47d84d-e816-421d-a9bd-ea845bdedce9" providerId="ADAL" clId="{ABC34375-8FCD-4B3B-8662-4D95808BABCB}" dt="2023-04-12T04:56:52.028" v="1845" actId="14100"/>
          <ac:cxnSpMkLst>
            <pc:docMk/>
            <pc:sldMk cId="1556697206" sldId="607"/>
            <ac:cxnSpMk id="6" creationId="{46E88740-EDE0-4CF7-1202-5AA9B3170A5F}"/>
          </ac:cxnSpMkLst>
        </pc:cxnChg>
      </pc:sldChg>
      <pc:sldChg chg="addSp delSp modSp mod">
        <pc:chgData name="Auradee Castro" userId="5b47d84d-e816-421d-a9bd-ea845bdedce9" providerId="ADAL" clId="{ABC34375-8FCD-4B3B-8662-4D95808BABCB}" dt="2023-04-14T13:11:12.767" v="4855" actId="20577"/>
        <pc:sldMkLst>
          <pc:docMk/>
          <pc:sldMk cId="878837709" sldId="612"/>
        </pc:sldMkLst>
        <pc:spChg chg="mod">
          <ac:chgData name="Auradee Castro" userId="5b47d84d-e816-421d-a9bd-ea845bdedce9" providerId="ADAL" clId="{ABC34375-8FCD-4B3B-8662-4D95808BABCB}" dt="2023-04-14T03:47:53.399" v="4772" actId="20577"/>
          <ac:spMkLst>
            <pc:docMk/>
            <pc:sldMk cId="878837709" sldId="612"/>
            <ac:spMk id="2" creationId="{8F9128BC-1D37-66AB-858A-60235B0D02F9}"/>
          </ac:spMkLst>
        </pc:spChg>
        <pc:spChg chg="del mod">
          <ac:chgData name="Auradee Castro" userId="5b47d84d-e816-421d-a9bd-ea845bdedce9" providerId="ADAL" clId="{ABC34375-8FCD-4B3B-8662-4D95808BABCB}" dt="2023-04-12T05:47:36.120" v="2455" actId="478"/>
          <ac:spMkLst>
            <pc:docMk/>
            <pc:sldMk cId="878837709" sldId="612"/>
            <ac:spMk id="9" creationId="{2BBF528D-8DE3-6D80-1E4F-E7B77E84D140}"/>
          </ac:spMkLst>
        </pc:spChg>
        <pc:spChg chg="add mod">
          <ac:chgData name="Auradee Castro" userId="5b47d84d-e816-421d-a9bd-ea845bdedce9" providerId="ADAL" clId="{ABC34375-8FCD-4B3B-8662-4D95808BABCB}" dt="2023-04-14T13:11:12.767" v="4855" actId="20577"/>
          <ac:spMkLst>
            <pc:docMk/>
            <pc:sldMk cId="878837709" sldId="612"/>
            <ac:spMk id="13" creationId="{B698DED3-6EBE-9420-4050-DD8821FCBAF3}"/>
          </ac:spMkLst>
        </pc:spChg>
        <pc:spChg chg="del">
          <ac:chgData name="Auradee Castro" userId="5b47d84d-e816-421d-a9bd-ea845bdedce9" providerId="ADAL" clId="{ABC34375-8FCD-4B3B-8662-4D95808BABCB}" dt="2023-04-12T05:42:07.545" v="2364" actId="478"/>
          <ac:spMkLst>
            <pc:docMk/>
            <pc:sldMk cId="878837709" sldId="612"/>
            <ac:spMk id="31" creationId="{6ADF8A60-9480-5143-EF62-9EC833519468}"/>
          </ac:spMkLst>
        </pc:spChg>
        <pc:picChg chg="add mod">
          <ac:chgData name="Auradee Castro" userId="5b47d84d-e816-421d-a9bd-ea845bdedce9" providerId="ADAL" clId="{ABC34375-8FCD-4B3B-8662-4D95808BABCB}" dt="2023-04-12T05:53:53.547" v="2528" actId="1076"/>
          <ac:picMkLst>
            <pc:docMk/>
            <pc:sldMk cId="878837709" sldId="612"/>
            <ac:picMk id="4" creationId="{8585A874-5FC1-4CA5-A339-C1BA32E9C6C7}"/>
          </ac:picMkLst>
        </pc:picChg>
        <pc:picChg chg="add del mod">
          <ac:chgData name="Auradee Castro" userId="5b47d84d-e816-421d-a9bd-ea845bdedce9" providerId="ADAL" clId="{ABC34375-8FCD-4B3B-8662-4D95808BABCB}" dt="2023-04-12T05:40:47.175" v="2345" actId="21"/>
          <ac:picMkLst>
            <pc:docMk/>
            <pc:sldMk cId="878837709" sldId="612"/>
            <ac:picMk id="6" creationId="{D742CF4D-01E8-B834-C7FF-1E574F61A700}"/>
          </ac:picMkLst>
        </pc:picChg>
        <pc:picChg chg="add del mod">
          <ac:chgData name="Auradee Castro" userId="5b47d84d-e816-421d-a9bd-ea845bdedce9" providerId="ADAL" clId="{ABC34375-8FCD-4B3B-8662-4D95808BABCB}" dt="2023-04-12T05:41:15.586" v="2353" actId="21"/>
          <ac:picMkLst>
            <pc:docMk/>
            <pc:sldMk cId="878837709" sldId="612"/>
            <ac:picMk id="8" creationId="{AEF2B4E6-5A2C-22FB-5E93-78F3F747C340}"/>
          </ac:picMkLst>
        </pc:picChg>
        <pc:picChg chg="add del mod">
          <ac:chgData name="Auradee Castro" userId="5b47d84d-e816-421d-a9bd-ea845bdedce9" providerId="ADAL" clId="{ABC34375-8FCD-4B3B-8662-4D95808BABCB}" dt="2023-04-12T05:53:44.215" v="2525" actId="478"/>
          <ac:picMkLst>
            <pc:docMk/>
            <pc:sldMk cId="878837709" sldId="612"/>
            <ac:picMk id="10" creationId="{992F3980-3D4A-B2F1-7285-8E1BA7EF1ED0}"/>
          </ac:picMkLst>
        </pc:picChg>
        <pc:picChg chg="add del mod">
          <ac:chgData name="Auradee Castro" userId="5b47d84d-e816-421d-a9bd-ea845bdedce9" providerId="ADAL" clId="{ABC34375-8FCD-4B3B-8662-4D95808BABCB}" dt="2023-04-12T05:53:48.298" v="2527" actId="478"/>
          <ac:picMkLst>
            <pc:docMk/>
            <pc:sldMk cId="878837709" sldId="612"/>
            <ac:picMk id="11" creationId="{7A482FED-BAC2-6678-118E-23A7BF713B31}"/>
          </ac:picMkLst>
        </pc:picChg>
        <pc:picChg chg="add del mod">
          <ac:chgData name="Auradee Castro" userId="5b47d84d-e816-421d-a9bd-ea845bdedce9" providerId="ADAL" clId="{ABC34375-8FCD-4B3B-8662-4D95808BABCB}" dt="2023-04-12T05:53:42.754" v="2524" actId="478"/>
          <ac:picMkLst>
            <pc:docMk/>
            <pc:sldMk cId="878837709" sldId="612"/>
            <ac:picMk id="12" creationId="{A279EE84-02D8-6020-BA6B-4AEC76975B1D}"/>
          </ac:picMkLst>
        </pc:picChg>
      </pc:sldChg>
      <pc:sldChg chg="modSp mod">
        <pc:chgData name="Auradee Castro" userId="5b47d84d-e816-421d-a9bd-ea845bdedce9" providerId="ADAL" clId="{ABC34375-8FCD-4B3B-8662-4D95808BABCB}" dt="2023-04-14T00:45:42.853" v="3019" actId="20577"/>
        <pc:sldMkLst>
          <pc:docMk/>
          <pc:sldMk cId="2524774510" sldId="613"/>
        </pc:sldMkLst>
        <pc:spChg chg="mod">
          <ac:chgData name="Auradee Castro" userId="5b47d84d-e816-421d-a9bd-ea845bdedce9" providerId="ADAL" clId="{ABC34375-8FCD-4B3B-8662-4D95808BABCB}" dt="2023-04-14T00:45:42.853" v="3019" actId="20577"/>
          <ac:spMkLst>
            <pc:docMk/>
            <pc:sldMk cId="2524774510" sldId="613"/>
            <ac:spMk id="2" creationId="{8F9128BC-1D37-66AB-858A-60235B0D02F9}"/>
          </ac:spMkLst>
        </pc:spChg>
      </pc:sldChg>
      <pc:sldChg chg="addSp delSp modSp mod">
        <pc:chgData name="Auradee Castro" userId="5b47d84d-e816-421d-a9bd-ea845bdedce9" providerId="ADAL" clId="{ABC34375-8FCD-4B3B-8662-4D95808BABCB}" dt="2023-04-14T01:15:23.586" v="3264" actId="1036"/>
        <pc:sldMkLst>
          <pc:docMk/>
          <pc:sldMk cId="2279341814" sldId="614"/>
        </pc:sldMkLst>
        <pc:spChg chg="mod topLvl">
          <ac:chgData name="Auradee Castro" userId="5b47d84d-e816-421d-a9bd-ea845bdedce9" providerId="ADAL" clId="{ABC34375-8FCD-4B3B-8662-4D95808BABCB}" dt="2023-04-14T00:40:43.109" v="2968" actId="165"/>
          <ac:spMkLst>
            <pc:docMk/>
            <pc:sldMk cId="2279341814" sldId="614"/>
            <ac:spMk id="4" creationId="{92274950-4B6C-E377-05E8-40CFF016237D}"/>
          </ac:spMkLst>
        </pc:spChg>
        <pc:spChg chg="mod">
          <ac:chgData name="Auradee Castro" userId="5b47d84d-e816-421d-a9bd-ea845bdedce9" providerId="ADAL" clId="{ABC34375-8FCD-4B3B-8662-4D95808BABCB}" dt="2023-04-12T04:56:00.800" v="1843" actId="1035"/>
          <ac:spMkLst>
            <pc:docMk/>
            <pc:sldMk cId="2279341814" sldId="614"/>
            <ac:spMk id="9" creationId="{2BBF528D-8DE3-6D80-1E4F-E7B77E84D140}"/>
          </ac:spMkLst>
        </pc:spChg>
        <pc:spChg chg="mod">
          <ac:chgData name="Auradee Castro" userId="5b47d84d-e816-421d-a9bd-ea845bdedce9" providerId="ADAL" clId="{ABC34375-8FCD-4B3B-8662-4D95808BABCB}" dt="2023-04-14T01:12:15.696" v="3137" actId="1076"/>
          <ac:spMkLst>
            <pc:docMk/>
            <pc:sldMk cId="2279341814" sldId="614"/>
            <ac:spMk id="10" creationId="{F138DB48-8D26-EE9F-C159-D38C78BA94BB}"/>
          </ac:spMkLst>
        </pc:spChg>
        <pc:spChg chg="mod">
          <ac:chgData name="Auradee Castro" userId="5b47d84d-e816-421d-a9bd-ea845bdedce9" providerId="ADAL" clId="{ABC34375-8FCD-4B3B-8662-4D95808BABCB}" dt="2023-04-12T04:38:55.945" v="1542" actId="113"/>
          <ac:spMkLst>
            <pc:docMk/>
            <pc:sldMk cId="2279341814" sldId="614"/>
            <ac:spMk id="12" creationId="{E5ABC21A-8FA3-5893-F2EE-B4EFE0F4B509}"/>
          </ac:spMkLst>
        </pc:spChg>
        <pc:spChg chg="mod">
          <ac:chgData name="Auradee Castro" userId="5b47d84d-e816-421d-a9bd-ea845bdedce9" providerId="ADAL" clId="{ABC34375-8FCD-4B3B-8662-4D95808BABCB}" dt="2023-04-12T04:38:52.889" v="1540" actId="113"/>
          <ac:spMkLst>
            <pc:docMk/>
            <pc:sldMk cId="2279341814" sldId="614"/>
            <ac:spMk id="16" creationId="{1CC40453-ADE6-CFAD-2243-040FEE9BDB97}"/>
          </ac:spMkLst>
        </pc:spChg>
        <pc:spChg chg="mod">
          <ac:chgData name="Auradee Castro" userId="5b47d84d-e816-421d-a9bd-ea845bdedce9" providerId="ADAL" clId="{ABC34375-8FCD-4B3B-8662-4D95808BABCB}" dt="2023-04-12T04:35:08.337" v="1474" actId="6549"/>
          <ac:spMkLst>
            <pc:docMk/>
            <pc:sldMk cId="2279341814" sldId="614"/>
            <ac:spMk id="17" creationId="{380A3461-5B6C-70AA-4C67-CE5B20725F99}"/>
          </ac:spMkLst>
        </pc:spChg>
        <pc:spChg chg="mod">
          <ac:chgData name="Auradee Castro" userId="5b47d84d-e816-421d-a9bd-ea845bdedce9" providerId="ADAL" clId="{ABC34375-8FCD-4B3B-8662-4D95808BABCB}" dt="2023-04-12T04:34:30.112" v="1466" actId="571"/>
          <ac:spMkLst>
            <pc:docMk/>
            <pc:sldMk cId="2279341814" sldId="614"/>
            <ac:spMk id="31" creationId="{F34F7A7E-43AE-30DD-1867-F687059496D9}"/>
          </ac:spMkLst>
        </pc:spChg>
        <pc:spChg chg="mod">
          <ac:chgData name="Auradee Castro" userId="5b47d84d-e816-421d-a9bd-ea845bdedce9" providerId="ADAL" clId="{ABC34375-8FCD-4B3B-8662-4D95808BABCB}" dt="2023-04-12T04:48:18.748" v="1749" actId="1076"/>
          <ac:spMkLst>
            <pc:docMk/>
            <pc:sldMk cId="2279341814" sldId="614"/>
            <ac:spMk id="32" creationId="{52582686-07E0-ABD1-1DD0-EED7B6E2E468}"/>
          </ac:spMkLst>
        </pc:spChg>
        <pc:spChg chg="mod topLvl">
          <ac:chgData name="Auradee Castro" userId="5b47d84d-e816-421d-a9bd-ea845bdedce9" providerId="ADAL" clId="{ABC34375-8FCD-4B3B-8662-4D95808BABCB}" dt="2023-04-14T00:40:41.837" v="2967" actId="165"/>
          <ac:spMkLst>
            <pc:docMk/>
            <pc:sldMk cId="2279341814" sldId="614"/>
            <ac:spMk id="33" creationId="{74CDB31E-922D-31D7-FABF-875F781CC70B}"/>
          </ac:spMkLst>
        </pc:spChg>
        <pc:spChg chg="mod">
          <ac:chgData name="Auradee Castro" userId="5b47d84d-e816-421d-a9bd-ea845bdedce9" providerId="ADAL" clId="{ABC34375-8FCD-4B3B-8662-4D95808BABCB}" dt="2023-04-12T04:31:49.026" v="1439" actId="14100"/>
          <ac:spMkLst>
            <pc:docMk/>
            <pc:sldMk cId="2279341814" sldId="614"/>
            <ac:spMk id="35" creationId="{5A97D0B7-F9BE-069B-952E-D417E00043A4}"/>
          </ac:spMkLst>
        </pc:spChg>
        <pc:spChg chg="mod">
          <ac:chgData name="Auradee Castro" userId="5b47d84d-e816-421d-a9bd-ea845bdedce9" providerId="ADAL" clId="{ABC34375-8FCD-4B3B-8662-4D95808BABCB}" dt="2023-04-12T04:34:30.112" v="1466" actId="571"/>
          <ac:spMkLst>
            <pc:docMk/>
            <pc:sldMk cId="2279341814" sldId="614"/>
            <ac:spMk id="36" creationId="{5623E508-01D5-DA9F-5221-6AC1E47984A0}"/>
          </ac:spMkLst>
        </pc:spChg>
        <pc:spChg chg="mod">
          <ac:chgData name="Auradee Castro" userId="5b47d84d-e816-421d-a9bd-ea845bdedce9" providerId="ADAL" clId="{ABC34375-8FCD-4B3B-8662-4D95808BABCB}" dt="2023-04-12T06:12:28.552" v="2764" actId="14100"/>
          <ac:spMkLst>
            <pc:docMk/>
            <pc:sldMk cId="2279341814" sldId="614"/>
            <ac:spMk id="37" creationId="{ACE2C794-F541-994E-3ED7-6AD35EC7FD7A}"/>
          </ac:spMkLst>
        </pc:spChg>
        <pc:spChg chg="mod">
          <ac:chgData name="Auradee Castro" userId="5b47d84d-e816-421d-a9bd-ea845bdedce9" providerId="ADAL" clId="{ABC34375-8FCD-4B3B-8662-4D95808BABCB}" dt="2023-04-12T04:34:30.112" v="1466" actId="571"/>
          <ac:spMkLst>
            <pc:docMk/>
            <pc:sldMk cId="2279341814" sldId="614"/>
            <ac:spMk id="40" creationId="{811638D6-4BA3-16BC-2C71-6CE32AC76936}"/>
          </ac:spMkLst>
        </pc:spChg>
        <pc:spChg chg="del mod topLvl">
          <ac:chgData name="Auradee Castro" userId="5b47d84d-e816-421d-a9bd-ea845bdedce9" providerId="ADAL" clId="{ABC34375-8FCD-4B3B-8662-4D95808BABCB}" dt="2023-04-12T04:35:29.300" v="1480" actId="478"/>
          <ac:spMkLst>
            <pc:docMk/>
            <pc:sldMk cId="2279341814" sldId="614"/>
            <ac:spMk id="42" creationId="{52815578-1486-989F-114E-150928B568E7}"/>
          </ac:spMkLst>
        </pc:spChg>
        <pc:spChg chg="del mod topLvl">
          <ac:chgData name="Auradee Castro" userId="5b47d84d-e816-421d-a9bd-ea845bdedce9" providerId="ADAL" clId="{ABC34375-8FCD-4B3B-8662-4D95808BABCB}" dt="2023-04-12T04:35:27.972" v="1479" actId="478"/>
          <ac:spMkLst>
            <pc:docMk/>
            <pc:sldMk cId="2279341814" sldId="614"/>
            <ac:spMk id="44" creationId="{A668E6DA-F227-BE4B-EA3E-9BFCAE7F3C33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0" creationId="{DE56CD4D-1A6C-4682-30B4-9BCD542AFF05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1" creationId="{A8894428-D877-2B37-9E0C-13AC6D2B10ED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3" creationId="{407799CB-DCD6-E98F-AA4E-E7E2E084C61E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4" creationId="{EC143A14-2B15-1FCC-0091-A75496ED7E48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6" creationId="{5746EB27-81D8-2C91-9DFB-CEF95AB60B55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7" creationId="{C1430586-F25D-1AA1-FAD6-5FD830E74525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59" creationId="{40A2AE9B-4DD9-F127-7F16-A550EFA2AFDB}"/>
          </ac:spMkLst>
        </pc:spChg>
        <pc:spChg chg="mod">
          <ac:chgData name="Auradee Castro" userId="5b47d84d-e816-421d-a9bd-ea845bdedce9" providerId="ADAL" clId="{ABC34375-8FCD-4B3B-8662-4D95808BABCB}" dt="2023-04-12T04:47:30.958" v="1729" actId="571"/>
          <ac:spMkLst>
            <pc:docMk/>
            <pc:sldMk cId="2279341814" sldId="614"/>
            <ac:spMk id="60" creationId="{AB19E2D8-2B27-AF62-A7A6-633D28506EBB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62" creationId="{8CF4657D-A69B-7264-8FF0-249CFED41322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63" creationId="{13B9D57A-B83E-9260-F8FA-2C314F9B7342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65" creationId="{2BA49815-1DC1-0AAC-8F31-08230AD3AEBF}"/>
          </ac:spMkLst>
        </pc:spChg>
        <pc:spChg chg="mod topLvl">
          <ac:chgData name="Auradee Castro" userId="5b47d84d-e816-421d-a9bd-ea845bdedce9" providerId="ADAL" clId="{ABC34375-8FCD-4B3B-8662-4D95808BABCB}" dt="2023-04-14T01:14:12.454" v="3175" actId="14100"/>
          <ac:spMkLst>
            <pc:docMk/>
            <pc:sldMk cId="2279341814" sldId="614"/>
            <ac:spMk id="66" creationId="{5F0EA7B8-78D8-D1B7-DEEC-D20BD0B900F1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67" creationId="{28F646CF-E04B-944A-7D10-E9092A1AC79F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69" creationId="{BDDF5C1B-CAE1-3CCA-B08F-FADEE2E28DE3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70" creationId="{C33DB8DD-8242-887A-1302-97D79152D114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72" creationId="{3F71084D-0085-9420-647B-4CD3BE1E3CFC}"/>
          </ac:spMkLst>
        </pc:spChg>
        <pc:spChg chg="mod topLvl">
          <ac:chgData name="Auradee Castro" userId="5b47d84d-e816-421d-a9bd-ea845bdedce9" providerId="ADAL" clId="{ABC34375-8FCD-4B3B-8662-4D95808BABCB}" dt="2023-04-14T00:40:41.837" v="2967" actId="165"/>
          <ac:spMkLst>
            <pc:docMk/>
            <pc:sldMk cId="2279341814" sldId="614"/>
            <ac:spMk id="73" creationId="{3CA58EA0-07B7-4649-571A-DF9BBF854619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74" creationId="{CB2A7BF1-8B4D-A3AF-3253-6FEDA2F56932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77" creationId="{E3AEF3C4-EDD4-6555-56F0-4992BF657047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78" creationId="{2A60AC95-0E74-6A12-2428-E90565B585D3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80" creationId="{6B505F18-1F70-4061-8160-A8E674267510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81" creationId="{B42F7BFA-F162-A227-206F-8A09AE81425C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83" creationId="{68A2FDE7-80E3-E07A-237D-5C94D682BDBF}"/>
          </ac:spMkLst>
        </pc:spChg>
        <pc:spChg chg="mod">
          <ac:chgData name="Auradee Castro" userId="5b47d84d-e816-421d-a9bd-ea845bdedce9" providerId="ADAL" clId="{ABC34375-8FCD-4B3B-8662-4D95808BABCB}" dt="2023-04-12T04:48:08.049" v="1743" actId="571"/>
          <ac:spMkLst>
            <pc:docMk/>
            <pc:sldMk cId="2279341814" sldId="614"/>
            <ac:spMk id="84" creationId="{7268ED70-8B45-1053-2BBC-DF44900762B8}"/>
          </ac:spMkLst>
        </pc:spChg>
        <pc:spChg chg="mod">
          <ac:chgData name="Auradee Castro" userId="5b47d84d-e816-421d-a9bd-ea845bdedce9" providerId="ADAL" clId="{ABC34375-8FCD-4B3B-8662-4D95808BABCB}" dt="2023-04-12T04:35:42.167" v="1485" actId="6549"/>
          <ac:spMkLst>
            <pc:docMk/>
            <pc:sldMk cId="2279341814" sldId="614"/>
            <ac:spMk id="92" creationId="{B295DEDD-BAAC-4774-F1F9-1BD179ABFA8A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95" creationId="{BF73BEE0-D145-8DBA-7388-0B6D01DDEB05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98" creationId="{217B1DC2-38BD-CC67-99F7-EF39E2DC33A7}"/>
          </ac:spMkLst>
        </pc:spChg>
        <pc:spChg chg="add del mod topLvl">
          <ac:chgData name="Auradee Castro" userId="5b47d84d-e816-421d-a9bd-ea845bdedce9" providerId="ADAL" clId="{ABC34375-8FCD-4B3B-8662-4D95808BABCB}" dt="2023-04-12T04:54:02.550" v="1828" actId="478"/>
          <ac:spMkLst>
            <pc:docMk/>
            <pc:sldMk cId="2279341814" sldId="614"/>
            <ac:spMk id="100" creationId="{A698BE0B-B2CD-5B8D-4E14-2E7933625F98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02" creationId="{9F81793E-8571-1629-D793-F86142CB8ED6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03" creationId="{4D1C63A9-F188-6E86-24DF-817D1EC26AF1}"/>
          </ac:spMkLst>
        </pc:spChg>
        <pc:spChg chg="mod topLvl">
          <ac:chgData name="Auradee Castro" userId="5b47d84d-e816-421d-a9bd-ea845bdedce9" providerId="ADAL" clId="{ABC34375-8FCD-4B3B-8662-4D95808BABCB}" dt="2023-04-12T06:13:34.717" v="2775" actId="179"/>
          <ac:spMkLst>
            <pc:docMk/>
            <pc:sldMk cId="2279341814" sldId="614"/>
            <ac:spMk id="105" creationId="{7E2E2026-11F3-7098-D46C-6B5ED8C4A21D}"/>
          </ac:spMkLst>
        </pc:spChg>
        <pc:spChg chg="mod">
          <ac:chgData name="Auradee Castro" userId="5b47d84d-e816-421d-a9bd-ea845bdedce9" providerId="ADAL" clId="{ABC34375-8FCD-4B3B-8662-4D95808BABCB}" dt="2023-04-14T01:14:59.789" v="3188" actId="20577"/>
          <ac:spMkLst>
            <pc:docMk/>
            <pc:sldMk cId="2279341814" sldId="614"/>
            <ac:spMk id="106" creationId="{12F47584-F8B0-207D-6B4A-73E0912BDECC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07" creationId="{052E6377-19B6-714C-6EE7-1D5E479FFCAF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08" creationId="{9B3530AE-4929-97A9-C6CF-3F459A1B33A8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0" creationId="{51381726-422E-7444-9FB9-BAE6F4C1FD4B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1" creationId="{789C2ABE-9B3D-A420-21B7-F8D65A6302C5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3" creationId="{AE088E06-2C22-52AB-61CA-54EBD66F85E4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4" creationId="{BE51D872-CA4F-3FBB-38D0-AD069E03A84A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6" creationId="{404DD3C8-4613-3745-BEDD-94D3C18CBDD8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7" creationId="{369746D1-29BA-DBC4-5417-7B9A9AC66201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19" creationId="{C4AABCD2-B750-6815-A024-F5D0191DAC43}"/>
          </ac:spMkLst>
        </pc:spChg>
        <pc:spChg chg="mod">
          <ac:chgData name="Auradee Castro" userId="5b47d84d-e816-421d-a9bd-ea845bdedce9" providerId="ADAL" clId="{ABC34375-8FCD-4B3B-8662-4D95808BABCB}" dt="2023-04-12T06:10:53.635" v="2703" actId="571"/>
          <ac:spMkLst>
            <pc:docMk/>
            <pc:sldMk cId="2279341814" sldId="614"/>
            <ac:spMk id="120" creationId="{125249EB-8BE8-C86B-F4B6-4D4E39B51EBA}"/>
          </ac:spMkLst>
        </pc:spChg>
        <pc:grpChg chg="add del mod">
          <ac:chgData name="Auradee Castro" userId="5b47d84d-e816-421d-a9bd-ea845bdedce9" providerId="ADAL" clId="{ABC34375-8FCD-4B3B-8662-4D95808BABCB}" dt="2023-04-14T01:15:23.586" v="3264" actId="1036"/>
          <ac:grpSpMkLst>
            <pc:docMk/>
            <pc:sldMk cId="2279341814" sldId="614"/>
            <ac:grpSpMk id="5" creationId="{81113738-7887-60D0-7869-447675CFC379}"/>
          </ac:grpSpMkLst>
        </pc:grpChg>
        <pc:grpChg chg="mod">
          <ac:chgData name="Auradee Castro" userId="5b47d84d-e816-421d-a9bd-ea845bdedce9" providerId="ADAL" clId="{ABC34375-8FCD-4B3B-8662-4D95808BABCB}" dt="2023-04-12T04:55:20.409" v="1840" actId="14100"/>
          <ac:grpSpMkLst>
            <pc:docMk/>
            <pc:sldMk cId="2279341814" sldId="614"/>
            <ac:grpSpMk id="6" creationId="{7594CAD1-B92D-A7A2-97A9-A55A0F8A673A}"/>
          </ac:grpSpMkLst>
        </pc:grpChg>
        <pc:grpChg chg="mod">
          <ac:chgData name="Auradee Castro" userId="5b47d84d-e816-421d-a9bd-ea845bdedce9" providerId="ADAL" clId="{ABC34375-8FCD-4B3B-8662-4D95808BABCB}" dt="2023-04-12T04:54:54.211" v="1837" actId="1037"/>
          <ac:grpSpMkLst>
            <pc:docMk/>
            <pc:sldMk cId="2279341814" sldId="614"/>
            <ac:grpSpMk id="8" creationId="{BCD0128E-64CA-3C79-1D81-15ACC1FB88E1}"/>
          </ac:grpSpMkLst>
        </pc:grpChg>
        <pc:grpChg chg="del mod">
          <ac:chgData name="Auradee Castro" userId="5b47d84d-e816-421d-a9bd-ea845bdedce9" providerId="ADAL" clId="{ABC34375-8FCD-4B3B-8662-4D95808BABCB}" dt="2023-04-12T04:35:10.487" v="1475" actId="478"/>
          <ac:grpSpMkLst>
            <pc:docMk/>
            <pc:sldMk cId="2279341814" sldId="614"/>
            <ac:grpSpMk id="14" creationId="{012F1072-4143-2F10-DA2A-684816F5577A}"/>
          </ac:grpSpMkLst>
        </pc:grpChg>
        <pc:grpChg chg="mod">
          <ac:chgData name="Auradee Castro" userId="5b47d84d-e816-421d-a9bd-ea845bdedce9" providerId="ADAL" clId="{ABC34375-8FCD-4B3B-8662-4D95808BABCB}" dt="2023-04-14T01:10:42.408" v="3123" actId="164"/>
          <ac:grpSpMkLst>
            <pc:docMk/>
            <pc:sldMk cId="2279341814" sldId="614"/>
            <ac:grpSpMk id="18" creationId="{5A1C53FA-E3A2-A03E-86FD-C1E8F9C27646}"/>
          </ac:grpSpMkLst>
        </pc:grpChg>
        <pc:grpChg chg="mod">
          <ac:chgData name="Auradee Castro" userId="5b47d84d-e816-421d-a9bd-ea845bdedce9" providerId="ADAL" clId="{ABC34375-8FCD-4B3B-8662-4D95808BABCB}" dt="2023-04-14T01:10:42.408" v="3123" actId="164"/>
          <ac:grpSpMkLst>
            <pc:docMk/>
            <pc:sldMk cId="2279341814" sldId="614"/>
            <ac:grpSpMk id="21" creationId="{908FD350-913D-B1EF-9D7C-39844DACAF50}"/>
          </ac:grpSpMkLst>
        </pc:grpChg>
        <pc:grpChg chg="mod">
          <ac:chgData name="Auradee Castro" userId="5b47d84d-e816-421d-a9bd-ea845bdedce9" providerId="ADAL" clId="{ABC34375-8FCD-4B3B-8662-4D95808BABCB}" dt="2023-04-14T01:15:08.675" v="3247" actId="1035"/>
          <ac:grpSpMkLst>
            <pc:docMk/>
            <pc:sldMk cId="2279341814" sldId="614"/>
            <ac:grpSpMk id="27" creationId="{78460C24-126A-398F-8C6A-1B3EF8F8FFD2}"/>
          </ac:grpSpMkLst>
        </pc:grpChg>
        <pc:grpChg chg="add mod ord">
          <ac:chgData name="Auradee Castro" userId="5b47d84d-e816-421d-a9bd-ea845bdedce9" providerId="ADAL" clId="{ABC34375-8FCD-4B3B-8662-4D95808BABCB}" dt="2023-04-14T01:12:03.981" v="3135" actId="167"/>
          <ac:grpSpMkLst>
            <pc:docMk/>
            <pc:sldMk cId="2279341814" sldId="614"/>
            <ac:grpSpMk id="29" creationId="{E3E17FB9-383B-FD05-337B-32138CB104AF}"/>
          </ac:grpSpMkLst>
        </pc:grpChg>
        <pc:grpChg chg="add mod">
          <ac:chgData name="Auradee Castro" userId="5b47d84d-e816-421d-a9bd-ea845bdedce9" providerId="ADAL" clId="{ABC34375-8FCD-4B3B-8662-4D95808BABCB}" dt="2023-04-14T01:10:42.408" v="3123" actId="164"/>
          <ac:grpSpMkLst>
            <pc:docMk/>
            <pc:sldMk cId="2279341814" sldId="614"/>
            <ac:grpSpMk id="30" creationId="{F059CEB1-A212-A79A-6A8F-176B4B6F4E1A}"/>
          </ac:grpSpMkLst>
        </pc:grpChg>
        <pc:grpChg chg="add del mod">
          <ac:chgData name="Auradee Castro" userId="5b47d84d-e816-421d-a9bd-ea845bdedce9" providerId="ADAL" clId="{ABC34375-8FCD-4B3B-8662-4D95808BABCB}" dt="2023-04-12T04:35:15.190" v="1476" actId="478"/>
          <ac:grpSpMkLst>
            <pc:docMk/>
            <pc:sldMk cId="2279341814" sldId="614"/>
            <ac:grpSpMk id="34" creationId="{E17DE34C-44F8-7B43-931F-9822293B19FE}"/>
          </ac:grpSpMkLst>
        </pc:grpChg>
        <pc:grpChg chg="add mod ord">
          <ac:chgData name="Auradee Castro" userId="5b47d84d-e816-421d-a9bd-ea845bdedce9" providerId="ADAL" clId="{ABC34375-8FCD-4B3B-8662-4D95808BABCB}" dt="2023-04-14T01:11:47.818" v="3133" actId="167"/>
          <ac:grpSpMkLst>
            <pc:docMk/>
            <pc:sldMk cId="2279341814" sldId="614"/>
            <ac:grpSpMk id="34" creationId="{EE09477F-7F23-418A-65B6-AFB852825EA1}"/>
          </ac:grpSpMkLst>
        </pc:grpChg>
        <pc:grpChg chg="add del mod">
          <ac:chgData name="Auradee Castro" userId="5b47d84d-e816-421d-a9bd-ea845bdedce9" providerId="ADAL" clId="{ABC34375-8FCD-4B3B-8662-4D95808BABCB}" dt="2023-04-12T04:35:27.972" v="1479" actId="478"/>
          <ac:grpSpMkLst>
            <pc:docMk/>
            <pc:sldMk cId="2279341814" sldId="614"/>
            <ac:grpSpMk id="41" creationId="{8DF726B0-00B4-98D0-8E14-2691C87837B2}"/>
          </ac:grpSpMkLst>
        </pc:grpChg>
        <pc:grpChg chg="add del mod">
          <ac:chgData name="Auradee Castro" userId="5b47d84d-e816-421d-a9bd-ea845bdedce9" providerId="ADAL" clId="{ABC34375-8FCD-4B3B-8662-4D95808BABCB}" dt="2023-04-12T04:48:29.553" v="1755" actId="478"/>
          <ac:grpSpMkLst>
            <pc:docMk/>
            <pc:sldMk cId="2279341814" sldId="614"/>
            <ac:grpSpMk id="46" creationId="{04467978-3615-B294-EEC2-07A2C98E39F3}"/>
          </ac:grpSpMkLst>
        </pc:grpChg>
        <pc:grpChg chg="add del mod">
          <ac:chgData name="Auradee Castro" userId="5b47d84d-e816-421d-a9bd-ea845bdedce9" providerId="ADAL" clId="{ABC34375-8FCD-4B3B-8662-4D95808BABCB}" dt="2023-04-14T01:14:24.814" v="3179" actId="1037"/>
          <ac:grpSpMkLst>
            <pc:docMk/>
            <pc:sldMk cId="2279341814" sldId="614"/>
            <ac:grpSpMk id="49" creationId="{8E670011-07FB-B724-9E9F-68DA87416B7D}"/>
          </ac:grpSpMkLst>
        </pc:grpChg>
        <pc:grpChg chg="add del mod">
          <ac:chgData name="Auradee Castro" userId="5b47d84d-e816-421d-a9bd-ea845bdedce9" providerId="ADAL" clId="{ABC34375-8FCD-4B3B-8662-4D95808BABCB}" dt="2023-04-12T04:48:24.577" v="1751" actId="478"/>
          <ac:grpSpMkLst>
            <pc:docMk/>
            <pc:sldMk cId="2279341814" sldId="614"/>
            <ac:grpSpMk id="52" creationId="{FA011F2B-F06F-5DD8-3074-AB921D2EB6B2}"/>
          </ac:grpSpMkLst>
        </pc:grpChg>
        <pc:grpChg chg="add del mod">
          <ac:chgData name="Auradee Castro" userId="5b47d84d-e816-421d-a9bd-ea845bdedce9" providerId="ADAL" clId="{ABC34375-8FCD-4B3B-8662-4D95808BABCB}" dt="2023-04-12T04:48:27.438" v="1753" actId="478"/>
          <ac:grpSpMkLst>
            <pc:docMk/>
            <pc:sldMk cId="2279341814" sldId="614"/>
            <ac:grpSpMk id="55" creationId="{E8766A15-3F35-4340-42DC-FDA3C91971C5}"/>
          </ac:grpSpMkLst>
        </pc:grpChg>
        <pc:grpChg chg="add del mod">
          <ac:chgData name="Auradee Castro" userId="5b47d84d-e816-421d-a9bd-ea845bdedce9" providerId="ADAL" clId="{ABC34375-8FCD-4B3B-8662-4D95808BABCB}" dt="2023-04-12T04:48:15.019" v="1747" actId="478"/>
          <ac:grpSpMkLst>
            <pc:docMk/>
            <pc:sldMk cId="2279341814" sldId="614"/>
            <ac:grpSpMk id="58" creationId="{25BF7C6E-CD1F-DBE3-2326-EEF9F9FD4D63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61" creationId="{BF395C34-A7FC-6C80-0FC1-DAC88A35FABA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64" creationId="{2868E558-2389-163E-3FA2-83894618B28E}"/>
          </ac:grpSpMkLst>
        </pc:grpChg>
        <pc:grpChg chg="add del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68" creationId="{946BC91D-66FF-48C8-E492-83E8044F323C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71" creationId="{DC02F160-45EB-C958-C684-A1431F98ECBD}"/>
          </ac:grpSpMkLst>
        </pc:grpChg>
        <pc:grpChg chg="add del mod">
          <ac:chgData name="Auradee Castro" userId="5b47d84d-e816-421d-a9bd-ea845bdedce9" providerId="ADAL" clId="{ABC34375-8FCD-4B3B-8662-4D95808BABCB}" dt="2023-04-14T01:14:31.699" v="3182" actId="1037"/>
          <ac:grpSpMkLst>
            <pc:docMk/>
            <pc:sldMk cId="2279341814" sldId="614"/>
            <ac:grpSpMk id="75" creationId="{F685AFAC-BAE9-A032-CA2B-E35EC658CEA9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76" creationId="{24E5B99C-D916-D30B-40F7-98A837114EAF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79" creationId="{241CDA49-FD89-5A8F-88E4-EC57DE7273B4}"/>
          </ac:grpSpMkLst>
        </pc:grpChg>
        <pc:grpChg chg="add mod">
          <ac:chgData name="Auradee Castro" userId="5b47d84d-e816-421d-a9bd-ea845bdedce9" providerId="ADAL" clId="{ABC34375-8FCD-4B3B-8662-4D95808BABCB}" dt="2023-04-12T04:48:08.049" v="1743" actId="571"/>
          <ac:grpSpMkLst>
            <pc:docMk/>
            <pc:sldMk cId="2279341814" sldId="614"/>
            <ac:grpSpMk id="82" creationId="{4AEC881E-C58D-DDF5-56E4-933B07FCE6CA}"/>
          </ac:grpSpMkLst>
        </pc:grpChg>
        <pc:grpChg chg="mod">
          <ac:chgData name="Auradee Castro" userId="5b47d84d-e816-421d-a9bd-ea845bdedce9" providerId="ADAL" clId="{ABC34375-8FCD-4B3B-8662-4D95808BABCB}" dt="2023-04-14T01:10:42.408" v="3123" actId="164"/>
          <ac:grpSpMkLst>
            <pc:docMk/>
            <pc:sldMk cId="2279341814" sldId="614"/>
            <ac:grpSpMk id="86" creationId="{DF8B24CF-92A8-300A-D37A-9E4275E1CECE}"/>
          </ac:grpSpMkLst>
        </pc:grpChg>
        <pc:grpChg chg="mod">
          <ac:chgData name="Auradee Castro" userId="5b47d84d-e816-421d-a9bd-ea845bdedce9" providerId="ADAL" clId="{ABC34375-8FCD-4B3B-8662-4D95808BABCB}" dt="2023-04-14T01:11:09.807" v="3126" actId="164"/>
          <ac:grpSpMkLst>
            <pc:docMk/>
            <pc:sldMk cId="2279341814" sldId="614"/>
            <ac:grpSpMk id="89" creationId="{F8BB3386-DB23-EB1F-358C-ACAB59E6EFC6}"/>
          </ac:grpSpMkLst>
        </pc:grpChg>
        <pc:grpChg chg="add del mod">
          <ac:chgData name="Auradee Castro" userId="5b47d84d-e816-421d-a9bd-ea845bdedce9" providerId="ADAL" clId="{ABC34375-8FCD-4B3B-8662-4D95808BABCB}" dt="2023-04-14T01:11:09.807" v="3126" actId="164"/>
          <ac:grpSpMkLst>
            <pc:docMk/>
            <pc:sldMk cId="2279341814" sldId="614"/>
            <ac:grpSpMk id="90" creationId="{DA9F843F-9F7C-A830-D1ED-67E3EF1803C4}"/>
          </ac:grpSpMkLst>
        </pc:grpChg>
        <pc:grpChg chg="add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93" creationId="{C7CC19F9-15AE-FEB2-D65E-5055B5B9BD95}"/>
          </ac:grpSpMkLst>
        </pc:grpChg>
        <pc:grpChg chg="mod ord">
          <ac:chgData name="Auradee Castro" userId="5b47d84d-e816-421d-a9bd-ea845bdedce9" providerId="ADAL" clId="{ABC34375-8FCD-4B3B-8662-4D95808BABCB}" dt="2023-04-14T01:11:09.807" v="3126" actId="164"/>
          <ac:grpSpMkLst>
            <pc:docMk/>
            <pc:sldMk cId="2279341814" sldId="614"/>
            <ac:grpSpMk id="94" creationId="{DC8D437B-877B-83C6-BAB2-FD6E660D29AE}"/>
          </ac:grpSpMkLst>
        </pc:grpChg>
        <pc:grpChg chg="add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01" creationId="{0BFF5FD2-53F8-C6FD-3E95-D8EED65060CD}"/>
          </ac:grpSpMkLst>
        </pc:grpChg>
        <pc:grpChg chg="add del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04" creationId="{39E0E719-0788-12A6-594B-95187735EB33}"/>
          </ac:grpSpMkLst>
        </pc:grpChg>
        <pc:grpChg chg="add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09" creationId="{6200D095-49F0-21D8-7F2E-85C46904CF9C}"/>
          </ac:grpSpMkLst>
        </pc:grpChg>
        <pc:grpChg chg="add del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12" creationId="{3990AEC0-6343-5483-79B2-E5B388938B77}"/>
          </ac:grpSpMkLst>
        </pc:grpChg>
        <pc:grpChg chg="add del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15" creationId="{7C7FA1E9-12A2-2657-F036-BFE80BBF0333}"/>
          </ac:grpSpMkLst>
        </pc:grpChg>
        <pc:grpChg chg="add mod">
          <ac:chgData name="Auradee Castro" userId="5b47d84d-e816-421d-a9bd-ea845bdedce9" providerId="ADAL" clId="{ABC34375-8FCD-4B3B-8662-4D95808BABCB}" dt="2023-04-12T06:10:53.635" v="2703" actId="571"/>
          <ac:grpSpMkLst>
            <pc:docMk/>
            <pc:sldMk cId="2279341814" sldId="614"/>
            <ac:grpSpMk id="118" creationId="{4B6FA152-0250-FDF2-77E9-33218CE659A9}"/>
          </ac:grpSpMkLst>
        </pc:grpChg>
        <pc:cxnChg chg="mod">
          <ac:chgData name="Auradee Castro" userId="5b47d84d-e816-421d-a9bd-ea845bdedce9" providerId="ADAL" clId="{ABC34375-8FCD-4B3B-8662-4D95808BABCB}" dt="2023-04-14T01:12:15.696" v="3137" actId="1076"/>
          <ac:cxnSpMkLst>
            <pc:docMk/>
            <pc:sldMk cId="2279341814" sldId="614"/>
            <ac:cxnSpMk id="7" creationId="{ED982B0C-220B-D0FF-E3D5-B9211F8B46A0}"/>
          </ac:cxnSpMkLst>
        </pc:cxnChg>
        <pc:cxnChg chg="mod">
          <ac:chgData name="Auradee Castro" userId="5b47d84d-e816-421d-a9bd-ea845bdedce9" providerId="ADAL" clId="{ABC34375-8FCD-4B3B-8662-4D95808BABCB}" dt="2023-04-14T01:10:42.408" v="3123" actId="164"/>
          <ac:cxnSpMkLst>
            <pc:docMk/>
            <pc:sldMk cId="2279341814" sldId="614"/>
            <ac:cxnSpMk id="11" creationId="{59CCCB6D-E1B6-FD20-C76C-03A3D9CE576A}"/>
          </ac:cxnSpMkLst>
        </pc:cxnChg>
        <pc:cxnChg chg="mod">
          <ac:chgData name="Auradee Castro" userId="5b47d84d-e816-421d-a9bd-ea845bdedce9" providerId="ADAL" clId="{ABC34375-8FCD-4B3B-8662-4D95808BABCB}" dt="2023-04-14T01:11:09.807" v="3126" actId="164"/>
          <ac:cxnSpMkLst>
            <pc:docMk/>
            <pc:sldMk cId="2279341814" sldId="614"/>
            <ac:cxnSpMk id="25" creationId="{FAC6538B-89F4-1CB3-CB1B-49682996FDEC}"/>
          </ac:cxnSpMkLst>
        </pc:cxnChg>
        <pc:cxnChg chg="mod">
          <ac:chgData name="Auradee Castro" userId="5b47d84d-e816-421d-a9bd-ea845bdedce9" providerId="ADAL" clId="{ABC34375-8FCD-4B3B-8662-4D95808BABCB}" dt="2023-04-14T01:10:42.408" v="3123" actId="164"/>
          <ac:cxnSpMkLst>
            <pc:docMk/>
            <pc:sldMk cId="2279341814" sldId="614"/>
            <ac:cxnSpMk id="43" creationId="{A6A5E955-0304-E77D-8693-0357AD4786F4}"/>
          </ac:cxnSpMkLst>
        </pc:cxnChg>
        <pc:cxnChg chg="mod">
          <ac:chgData name="Auradee Castro" userId="5b47d84d-e816-421d-a9bd-ea845bdedce9" providerId="ADAL" clId="{ABC34375-8FCD-4B3B-8662-4D95808BABCB}" dt="2023-04-14T01:11:09.807" v="3126" actId="164"/>
          <ac:cxnSpMkLst>
            <pc:docMk/>
            <pc:sldMk cId="2279341814" sldId="614"/>
            <ac:cxnSpMk id="47" creationId="{89309A2F-53F5-5B90-7411-2A4AB17CE5D4}"/>
          </ac:cxnSpMkLst>
        </pc:cxnChg>
        <pc:cxnChg chg="mod">
          <ac:chgData name="Auradee Castro" userId="5b47d84d-e816-421d-a9bd-ea845bdedce9" providerId="ADAL" clId="{ABC34375-8FCD-4B3B-8662-4D95808BABCB}" dt="2023-04-14T01:14:35.837" v="3183" actId="14100"/>
          <ac:cxnSpMkLst>
            <pc:docMk/>
            <pc:sldMk cId="2279341814" sldId="614"/>
            <ac:cxnSpMk id="48" creationId="{96197FC9-4EEB-D3A1-332E-EBE0A62ADBB2}"/>
          </ac:cxnSpMkLst>
        </pc:cxnChg>
        <pc:cxnChg chg="mod">
          <ac:chgData name="Auradee Castro" userId="5b47d84d-e816-421d-a9bd-ea845bdedce9" providerId="ADAL" clId="{ABC34375-8FCD-4B3B-8662-4D95808BABCB}" dt="2023-04-14T01:10:42.408" v="3123" actId="164"/>
          <ac:cxnSpMkLst>
            <pc:docMk/>
            <pc:sldMk cId="2279341814" sldId="614"/>
            <ac:cxnSpMk id="96" creationId="{5D14DEC2-8A8A-A670-9422-3A2C4F076FDA}"/>
          </ac:cxnSpMkLst>
        </pc:cxnChg>
        <pc:cxnChg chg="mod">
          <ac:chgData name="Auradee Castro" userId="5b47d84d-e816-421d-a9bd-ea845bdedce9" providerId="ADAL" clId="{ABC34375-8FCD-4B3B-8662-4D95808BABCB}" dt="2023-04-14T01:10:42.408" v="3123" actId="164"/>
          <ac:cxnSpMkLst>
            <pc:docMk/>
            <pc:sldMk cId="2279341814" sldId="614"/>
            <ac:cxnSpMk id="97" creationId="{CB286FAB-0DCC-858E-D06C-A2EC1EBC0914}"/>
          </ac:cxnSpMkLst>
        </pc:cxnChg>
        <pc:cxnChg chg="mod">
          <ac:chgData name="Auradee Castro" userId="5b47d84d-e816-421d-a9bd-ea845bdedce9" providerId="ADAL" clId="{ABC34375-8FCD-4B3B-8662-4D95808BABCB}" dt="2023-04-14T01:11:09.807" v="3126" actId="164"/>
          <ac:cxnSpMkLst>
            <pc:docMk/>
            <pc:sldMk cId="2279341814" sldId="614"/>
            <ac:cxnSpMk id="99" creationId="{D4981105-C734-3272-C09E-A8F4B440B7F2}"/>
          </ac:cxnSpMkLst>
        </pc:cxnChg>
      </pc:sldChg>
      <pc:sldChg chg="delSp modSp mod">
        <pc:chgData name="Auradee Castro" userId="5b47d84d-e816-421d-a9bd-ea845bdedce9" providerId="ADAL" clId="{ABC34375-8FCD-4B3B-8662-4D95808BABCB}" dt="2023-04-14T03:57:56.819" v="4789" actId="20577"/>
        <pc:sldMkLst>
          <pc:docMk/>
          <pc:sldMk cId="4233907682" sldId="616"/>
        </pc:sldMkLst>
        <pc:spChg chg="mod">
          <ac:chgData name="Auradee Castro" userId="5b47d84d-e816-421d-a9bd-ea845bdedce9" providerId="ADAL" clId="{ABC34375-8FCD-4B3B-8662-4D95808BABCB}" dt="2023-04-14T00:45:47.581" v="3020"/>
          <ac:spMkLst>
            <pc:docMk/>
            <pc:sldMk cId="4233907682" sldId="616"/>
            <ac:spMk id="2" creationId="{8F9128BC-1D37-66AB-858A-60235B0D02F9}"/>
          </ac:spMkLst>
        </pc:spChg>
        <pc:spChg chg="mod">
          <ac:chgData name="Auradee Castro" userId="5b47d84d-e816-421d-a9bd-ea845bdedce9" providerId="ADAL" clId="{ABC34375-8FCD-4B3B-8662-4D95808BABCB}" dt="2023-04-14T03:57:56.819" v="4789" actId="20577"/>
          <ac:spMkLst>
            <pc:docMk/>
            <pc:sldMk cId="4233907682" sldId="616"/>
            <ac:spMk id="12" creationId="{FE7A8754-1D17-CAE0-CE0A-967A1EB9AFAF}"/>
          </ac:spMkLst>
        </pc:spChg>
        <pc:spChg chg="mod">
          <ac:chgData name="Auradee Castro" userId="5b47d84d-e816-421d-a9bd-ea845bdedce9" providerId="ADAL" clId="{ABC34375-8FCD-4B3B-8662-4D95808BABCB}" dt="2023-04-14T03:32:30.115" v="4349" actId="14100"/>
          <ac:spMkLst>
            <pc:docMk/>
            <pc:sldMk cId="4233907682" sldId="616"/>
            <ac:spMk id="13" creationId="{6960C97D-C254-5AED-AD73-3CEA2327AA91}"/>
          </ac:spMkLst>
        </pc:spChg>
        <pc:spChg chg="mod">
          <ac:chgData name="Auradee Castro" userId="5b47d84d-e816-421d-a9bd-ea845bdedce9" providerId="ADAL" clId="{ABC34375-8FCD-4B3B-8662-4D95808BABCB}" dt="2023-04-14T03:41:02.432" v="4766" actId="14100"/>
          <ac:spMkLst>
            <pc:docMk/>
            <pc:sldMk cId="4233907682" sldId="616"/>
            <ac:spMk id="14" creationId="{D8F8D58D-1E37-5616-F4E4-A3A1C455860A}"/>
          </ac:spMkLst>
        </pc:spChg>
        <pc:spChg chg="mod">
          <ac:chgData name="Auradee Castro" userId="5b47d84d-e816-421d-a9bd-ea845bdedce9" providerId="ADAL" clId="{ABC34375-8FCD-4B3B-8662-4D95808BABCB}" dt="2023-04-14T03:40:46.978" v="4763" actId="20577"/>
          <ac:spMkLst>
            <pc:docMk/>
            <pc:sldMk cId="4233907682" sldId="616"/>
            <ac:spMk id="16" creationId="{167C3EA3-64D3-8A95-6738-7A356990E4BB}"/>
          </ac:spMkLst>
        </pc:spChg>
        <pc:spChg chg="mod">
          <ac:chgData name="Auradee Castro" userId="5b47d84d-e816-421d-a9bd-ea845bdedce9" providerId="ADAL" clId="{ABC34375-8FCD-4B3B-8662-4D95808BABCB}" dt="2023-04-14T03:05:05.404" v="3880" actId="14100"/>
          <ac:spMkLst>
            <pc:docMk/>
            <pc:sldMk cId="4233907682" sldId="616"/>
            <ac:spMk id="17" creationId="{3E86B7E6-129E-B1E4-6FBC-909C171DD2BD}"/>
          </ac:spMkLst>
        </pc:spChg>
        <pc:spChg chg="mod">
          <ac:chgData name="Auradee Castro" userId="5b47d84d-e816-421d-a9bd-ea845bdedce9" providerId="ADAL" clId="{ABC34375-8FCD-4B3B-8662-4D95808BABCB}" dt="2023-04-14T03:39:34.023" v="4751" actId="14100"/>
          <ac:spMkLst>
            <pc:docMk/>
            <pc:sldMk cId="4233907682" sldId="616"/>
            <ac:spMk id="19" creationId="{1F541673-A766-D3D7-A666-A4C68D414F42}"/>
          </ac:spMkLst>
        </pc:spChg>
        <pc:spChg chg="mod">
          <ac:chgData name="Auradee Castro" userId="5b47d84d-e816-421d-a9bd-ea845bdedce9" providerId="ADAL" clId="{ABC34375-8FCD-4B3B-8662-4D95808BABCB}" dt="2023-04-14T01:53:16.300" v="3267" actId="1035"/>
          <ac:spMkLst>
            <pc:docMk/>
            <pc:sldMk cId="4233907682" sldId="616"/>
            <ac:spMk id="26" creationId="{D039921A-06B1-9ABA-8798-5423BF66789D}"/>
          </ac:spMkLst>
        </pc:spChg>
        <pc:spChg chg="mod">
          <ac:chgData name="Auradee Castro" userId="5b47d84d-e816-421d-a9bd-ea845bdedce9" providerId="ADAL" clId="{ABC34375-8FCD-4B3B-8662-4D95808BABCB}" dt="2023-04-14T01:53:14.077" v="3266" actId="1035"/>
          <ac:spMkLst>
            <pc:docMk/>
            <pc:sldMk cId="4233907682" sldId="616"/>
            <ac:spMk id="29" creationId="{CEA199FB-BF64-7F7E-E704-83F86E1A7D15}"/>
          </ac:spMkLst>
        </pc:spChg>
        <pc:spChg chg="del">
          <ac:chgData name="Auradee Castro" userId="5b47d84d-e816-421d-a9bd-ea845bdedce9" providerId="ADAL" clId="{ABC34375-8FCD-4B3B-8662-4D95808BABCB}" dt="2023-04-14T01:56:19.765" v="3297" actId="478"/>
          <ac:spMkLst>
            <pc:docMk/>
            <pc:sldMk cId="4233907682" sldId="616"/>
            <ac:spMk id="31" creationId="{6ADF8A60-9480-5143-EF62-9EC833519468}"/>
          </ac:spMkLst>
        </pc:spChg>
        <pc:spChg chg="mod">
          <ac:chgData name="Auradee Castro" userId="5b47d84d-e816-421d-a9bd-ea845bdedce9" providerId="ADAL" clId="{ABC34375-8FCD-4B3B-8662-4D95808BABCB}" dt="2023-04-14T03:33:45.689" v="4415" actId="14100"/>
          <ac:spMkLst>
            <pc:docMk/>
            <pc:sldMk cId="4233907682" sldId="616"/>
            <ac:spMk id="46" creationId="{3C4EDFAB-2324-EFA4-C46B-BB5D80C56A9C}"/>
          </ac:spMkLst>
        </pc:spChg>
        <pc:spChg chg="mod">
          <ac:chgData name="Auradee Castro" userId="5b47d84d-e816-421d-a9bd-ea845bdedce9" providerId="ADAL" clId="{ABC34375-8FCD-4B3B-8662-4D95808BABCB}" dt="2023-04-14T01:54:41.955" v="3287" actId="14100"/>
          <ac:spMkLst>
            <pc:docMk/>
            <pc:sldMk cId="4233907682" sldId="616"/>
            <ac:spMk id="47" creationId="{BE40E30E-3402-27FC-0FC3-4472A794ECD1}"/>
          </ac:spMkLst>
        </pc:spChg>
        <pc:spChg chg="mod">
          <ac:chgData name="Auradee Castro" userId="5b47d84d-e816-421d-a9bd-ea845bdedce9" providerId="ADAL" clId="{ABC34375-8FCD-4B3B-8662-4D95808BABCB}" dt="2023-04-14T03:33:19.915" v="4405" actId="1035"/>
          <ac:spMkLst>
            <pc:docMk/>
            <pc:sldMk cId="4233907682" sldId="616"/>
            <ac:spMk id="48" creationId="{C86D0160-D75A-9325-2E67-A8460EBE39F6}"/>
          </ac:spMkLst>
        </pc:spChg>
        <pc:spChg chg="mod">
          <ac:chgData name="Auradee Castro" userId="5b47d84d-e816-421d-a9bd-ea845bdedce9" providerId="ADAL" clId="{ABC34375-8FCD-4B3B-8662-4D95808BABCB}" dt="2023-04-14T01:55:29.666" v="3293" actId="1076"/>
          <ac:spMkLst>
            <pc:docMk/>
            <pc:sldMk cId="4233907682" sldId="616"/>
            <ac:spMk id="106" creationId="{9D5CA23A-ECAD-2151-9E2F-C7847612CFB1}"/>
          </ac:spMkLst>
        </pc:spChg>
        <pc:spChg chg="mod">
          <ac:chgData name="Auradee Castro" userId="5b47d84d-e816-421d-a9bd-ea845bdedce9" providerId="ADAL" clId="{ABC34375-8FCD-4B3B-8662-4D95808BABCB}" dt="2023-04-14T01:57:38.918" v="3299" actId="20577"/>
          <ac:spMkLst>
            <pc:docMk/>
            <pc:sldMk cId="4233907682" sldId="616"/>
            <ac:spMk id="109" creationId="{D8D7BC75-5B08-7B21-CD55-EC33ACB3FFEE}"/>
          </ac:spMkLst>
        </pc:spChg>
        <pc:grpChg chg="mod">
          <ac:chgData name="Auradee Castro" userId="5b47d84d-e816-421d-a9bd-ea845bdedce9" providerId="ADAL" clId="{ABC34375-8FCD-4B3B-8662-4D95808BABCB}" dt="2023-04-14T03:33:40.392" v="4414" actId="1036"/>
          <ac:grpSpMkLst>
            <pc:docMk/>
            <pc:sldMk cId="4233907682" sldId="616"/>
            <ac:grpSpMk id="3" creationId="{9074D643-8044-3B31-B5B9-991BCF9E9F0C}"/>
          </ac:grpSpMkLst>
        </pc:grpChg>
        <pc:grpChg chg="mod">
          <ac:chgData name="Auradee Castro" userId="5b47d84d-e816-421d-a9bd-ea845bdedce9" providerId="ADAL" clId="{ABC34375-8FCD-4B3B-8662-4D95808BABCB}" dt="2023-04-14T03:33:40.392" v="4414" actId="1036"/>
          <ac:grpSpMkLst>
            <pc:docMk/>
            <pc:sldMk cId="4233907682" sldId="616"/>
            <ac:grpSpMk id="10" creationId="{B4D43D08-C67B-A32B-C2E7-61AF15D833FE}"/>
          </ac:grpSpMkLst>
        </pc:grpChg>
        <pc:grpChg chg="mod">
          <ac:chgData name="Auradee Castro" userId="5b47d84d-e816-421d-a9bd-ea845bdedce9" providerId="ADAL" clId="{ABC34375-8FCD-4B3B-8662-4D95808BABCB}" dt="2023-04-14T03:33:40.392" v="4414" actId="1036"/>
          <ac:grpSpMkLst>
            <pc:docMk/>
            <pc:sldMk cId="4233907682" sldId="616"/>
            <ac:grpSpMk id="27" creationId="{1804B4BF-06A3-F7EA-CA5E-9248FECBDB34}"/>
          </ac:grpSpMkLst>
        </pc:grpChg>
        <pc:grpChg chg="mod">
          <ac:chgData name="Auradee Castro" userId="5b47d84d-e816-421d-a9bd-ea845bdedce9" providerId="ADAL" clId="{ABC34375-8FCD-4B3B-8662-4D95808BABCB}" dt="2023-04-14T03:41:06.584" v="4767" actId="14100"/>
          <ac:grpSpMkLst>
            <pc:docMk/>
            <pc:sldMk cId="4233907682" sldId="616"/>
            <ac:grpSpMk id="82" creationId="{FE1D9C3A-EA89-E00F-2215-08298B0AEED7}"/>
          </ac:grpSpMkLst>
        </pc:grpChg>
        <pc:cxnChg chg="mod">
          <ac:chgData name="Auradee Castro" userId="5b47d84d-e816-421d-a9bd-ea845bdedce9" providerId="ADAL" clId="{ABC34375-8FCD-4B3B-8662-4D95808BABCB}" dt="2023-04-14T03:38:09.470" v="4674" actId="14100"/>
          <ac:cxnSpMkLst>
            <pc:docMk/>
            <pc:sldMk cId="4233907682" sldId="616"/>
            <ac:cxnSpMk id="15" creationId="{48B2C8EC-7BB0-6BE4-5058-F8275E640070}"/>
          </ac:cxnSpMkLst>
        </pc:cxnChg>
        <pc:cxnChg chg="mod">
          <ac:chgData name="Auradee Castro" userId="5b47d84d-e816-421d-a9bd-ea845bdedce9" providerId="ADAL" clId="{ABC34375-8FCD-4B3B-8662-4D95808BABCB}" dt="2023-04-14T03:38:06.540" v="4673" actId="14100"/>
          <ac:cxnSpMkLst>
            <pc:docMk/>
            <pc:sldMk cId="4233907682" sldId="616"/>
            <ac:cxnSpMk id="18" creationId="{133FE64F-9467-00A4-2DCB-DF4196653732}"/>
          </ac:cxnSpMkLst>
        </pc:cxnChg>
        <pc:cxnChg chg="mod">
          <ac:chgData name="Auradee Castro" userId="5b47d84d-e816-421d-a9bd-ea845bdedce9" providerId="ADAL" clId="{ABC34375-8FCD-4B3B-8662-4D95808BABCB}" dt="2023-04-14T03:33:31.601" v="4408" actId="14100"/>
          <ac:cxnSpMkLst>
            <pc:docMk/>
            <pc:sldMk cId="4233907682" sldId="616"/>
            <ac:cxnSpMk id="30" creationId="{92AC17DA-70B9-699E-80BB-BEBD087F89BB}"/>
          </ac:cxnSpMkLst>
        </pc:cxnChg>
        <pc:cxnChg chg="mod">
          <ac:chgData name="Auradee Castro" userId="5b47d84d-e816-421d-a9bd-ea845bdedce9" providerId="ADAL" clId="{ABC34375-8FCD-4B3B-8662-4D95808BABCB}" dt="2023-04-14T03:33:40.392" v="4414" actId="1036"/>
          <ac:cxnSpMkLst>
            <pc:docMk/>
            <pc:sldMk cId="4233907682" sldId="616"/>
            <ac:cxnSpMk id="32" creationId="{A3DA65BA-DA06-2846-C79C-975B58F34167}"/>
          </ac:cxnSpMkLst>
        </pc:cxnChg>
        <pc:cxnChg chg="mod">
          <ac:chgData name="Auradee Castro" userId="5b47d84d-e816-421d-a9bd-ea845bdedce9" providerId="ADAL" clId="{ABC34375-8FCD-4B3B-8662-4D95808BABCB}" dt="2023-04-14T03:33:40.392" v="4414" actId="1036"/>
          <ac:cxnSpMkLst>
            <pc:docMk/>
            <pc:sldMk cId="4233907682" sldId="616"/>
            <ac:cxnSpMk id="39" creationId="{8E1AE4BA-7B30-4D0D-BA64-4A24B77C92DA}"/>
          </ac:cxnSpMkLst>
        </pc:cxnChg>
      </pc:sldChg>
      <pc:sldChg chg="modSp mod">
        <pc:chgData name="Auradee Castro" userId="5b47d84d-e816-421d-a9bd-ea845bdedce9" providerId="ADAL" clId="{ABC34375-8FCD-4B3B-8662-4D95808BABCB}" dt="2023-04-14T00:45:53.488" v="3022" actId="20577"/>
        <pc:sldMkLst>
          <pc:docMk/>
          <pc:sldMk cId="3226856182" sldId="618"/>
        </pc:sldMkLst>
        <pc:spChg chg="mod">
          <ac:chgData name="Auradee Castro" userId="5b47d84d-e816-421d-a9bd-ea845bdedce9" providerId="ADAL" clId="{ABC34375-8FCD-4B3B-8662-4D95808BABCB}" dt="2023-04-14T00:45:53.488" v="3022" actId="20577"/>
          <ac:spMkLst>
            <pc:docMk/>
            <pc:sldMk cId="3226856182" sldId="618"/>
            <ac:spMk id="2" creationId="{8F9128BC-1D37-66AB-858A-60235B0D02F9}"/>
          </ac:spMkLst>
        </pc:spChg>
      </pc:sldChg>
      <pc:sldChg chg="addSp delSp modSp mod">
        <pc:chgData name="Auradee Castro" userId="5b47d84d-e816-421d-a9bd-ea845bdedce9" providerId="ADAL" clId="{ABC34375-8FCD-4B3B-8662-4D95808BABCB}" dt="2023-04-14T03:47:59.897" v="4774" actId="20577"/>
        <pc:sldMkLst>
          <pc:docMk/>
          <pc:sldMk cId="2252611571" sldId="619"/>
        </pc:sldMkLst>
        <pc:spChg chg="mod">
          <ac:chgData name="Auradee Castro" userId="5b47d84d-e816-421d-a9bd-ea845bdedce9" providerId="ADAL" clId="{ABC34375-8FCD-4B3B-8662-4D95808BABCB}" dt="2023-04-14T03:47:59.897" v="4774" actId="20577"/>
          <ac:spMkLst>
            <pc:docMk/>
            <pc:sldMk cId="2252611571" sldId="619"/>
            <ac:spMk id="2" creationId="{8F9128BC-1D37-66AB-858A-60235B0D02F9}"/>
          </ac:spMkLst>
        </pc:spChg>
        <pc:spChg chg="del mod">
          <ac:chgData name="Auradee Castro" userId="5b47d84d-e816-421d-a9bd-ea845bdedce9" providerId="ADAL" clId="{ABC34375-8FCD-4B3B-8662-4D95808BABCB}" dt="2023-04-12T05:49:42.706" v="2482" actId="478"/>
          <ac:spMkLst>
            <pc:docMk/>
            <pc:sldMk cId="2252611571" sldId="619"/>
            <ac:spMk id="9" creationId="{2BBF528D-8DE3-6D80-1E4F-E7B77E84D140}"/>
          </ac:spMkLst>
        </pc:spChg>
        <pc:spChg chg="del">
          <ac:chgData name="Auradee Castro" userId="5b47d84d-e816-421d-a9bd-ea845bdedce9" providerId="ADAL" clId="{ABC34375-8FCD-4B3B-8662-4D95808BABCB}" dt="2023-04-13T22:01:53.251" v="2889" actId="478"/>
          <ac:spMkLst>
            <pc:docMk/>
            <pc:sldMk cId="2252611571" sldId="619"/>
            <ac:spMk id="31" creationId="{6ADF8A60-9480-5143-EF62-9EC833519468}"/>
          </ac:spMkLst>
        </pc:spChg>
        <pc:picChg chg="add mod">
          <ac:chgData name="Auradee Castro" userId="5b47d84d-e816-421d-a9bd-ea845bdedce9" providerId="ADAL" clId="{ABC34375-8FCD-4B3B-8662-4D95808BABCB}" dt="2023-04-13T22:02:58.316" v="2901" actId="14100"/>
          <ac:picMkLst>
            <pc:docMk/>
            <pc:sldMk cId="2252611571" sldId="619"/>
            <ac:picMk id="3" creationId="{7599F013-EE31-B2CB-9554-B55A0CC1CF41}"/>
          </ac:picMkLst>
        </pc:picChg>
        <pc:picChg chg="del">
          <ac:chgData name="Auradee Castro" userId="5b47d84d-e816-421d-a9bd-ea845bdedce9" providerId="ADAL" clId="{ABC34375-8FCD-4B3B-8662-4D95808BABCB}" dt="2023-04-12T05:49:36.819" v="2479" actId="478"/>
          <ac:picMkLst>
            <pc:docMk/>
            <pc:sldMk cId="2252611571" sldId="619"/>
            <ac:picMk id="4" creationId="{BAEBFFC2-9A6F-3625-5CA3-65BEA71EEC40}"/>
          </ac:picMkLst>
        </pc:picChg>
        <pc:picChg chg="add mod">
          <ac:chgData name="Auradee Castro" userId="5b47d84d-e816-421d-a9bd-ea845bdedce9" providerId="ADAL" clId="{ABC34375-8FCD-4B3B-8662-4D95808BABCB}" dt="2023-04-13T22:02:17.191" v="2900" actId="14100"/>
          <ac:picMkLst>
            <pc:docMk/>
            <pc:sldMk cId="2252611571" sldId="619"/>
            <ac:picMk id="5" creationId="{2BDC6266-188A-7FEF-2F35-D2799FFB43AD}"/>
          </ac:picMkLst>
        </pc:picChg>
        <pc:picChg chg="del">
          <ac:chgData name="Auradee Castro" userId="5b47d84d-e816-421d-a9bd-ea845bdedce9" providerId="ADAL" clId="{ABC34375-8FCD-4B3B-8662-4D95808BABCB}" dt="2023-04-12T05:49:38.675" v="2480" actId="478"/>
          <ac:picMkLst>
            <pc:docMk/>
            <pc:sldMk cId="2252611571" sldId="619"/>
            <ac:picMk id="6" creationId="{731544BB-D43A-171F-4412-4ACD8DC1D1B5}"/>
          </ac:picMkLst>
        </pc:picChg>
        <pc:picChg chg="add mod">
          <ac:chgData name="Auradee Castro" userId="5b47d84d-e816-421d-a9bd-ea845bdedce9" providerId="ADAL" clId="{ABC34375-8FCD-4B3B-8662-4D95808BABCB}" dt="2023-04-13T22:02:03.993" v="2891" actId="14100"/>
          <ac:picMkLst>
            <pc:docMk/>
            <pc:sldMk cId="2252611571" sldId="619"/>
            <ac:picMk id="7" creationId="{F61F7FF5-BE34-8697-118D-E72752D4ED88}"/>
          </ac:picMkLst>
        </pc:picChg>
        <pc:picChg chg="del">
          <ac:chgData name="Auradee Castro" userId="5b47d84d-e816-421d-a9bd-ea845bdedce9" providerId="ADAL" clId="{ABC34375-8FCD-4B3B-8662-4D95808BABCB}" dt="2023-04-12T05:49:46.023" v="2483" actId="478"/>
          <ac:picMkLst>
            <pc:docMk/>
            <pc:sldMk cId="2252611571" sldId="619"/>
            <ac:picMk id="8" creationId="{820157F9-6290-4D92-E1BF-55F69F0B67A2}"/>
          </ac:picMkLst>
        </pc:picChg>
        <pc:picChg chg="add mod">
          <ac:chgData name="Auradee Castro" userId="5b47d84d-e816-421d-a9bd-ea845bdedce9" providerId="ADAL" clId="{ABC34375-8FCD-4B3B-8662-4D95808BABCB}" dt="2023-04-13T22:02:07.565" v="2898" actId="1035"/>
          <ac:picMkLst>
            <pc:docMk/>
            <pc:sldMk cId="2252611571" sldId="619"/>
            <ac:picMk id="10" creationId="{FAEBB962-D6F1-9698-9C0D-401AB1ECC56F}"/>
          </ac:picMkLst>
        </pc:picChg>
      </pc:sldChg>
      <pc:sldChg chg="addSp delSp modSp mod">
        <pc:chgData name="Auradee Castro" userId="5b47d84d-e816-421d-a9bd-ea845bdedce9" providerId="ADAL" clId="{ABC34375-8FCD-4B3B-8662-4D95808BABCB}" dt="2023-04-14T03:42:24.179" v="4768" actId="207"/>
        <pc:sldMkLst>
          <pc:docMk/>
          <pc:sldMk cId="1262739640" sldId="621"/>
        </pc:sldMkLst>
        <pc:spChg chg="del">
          <ac:chgData name="Auradee Castro" userId="5b47d84d-e816-421d-a9bd-ea845bdedce9" providerId="ADAL" clId="{ABC34375-8FCD-4B3B-8662-4D95808BABCB}" dt="2023-04-12T03:21:20.349" v="14" actId="478"/>
          <ac:spMkLst>
            <pc:docMk/>
            <pc:sldMk cId="1262739640" sldId="621"/>
            <ac:spMk id="3" creationId="{1AC34D1C-8E3C-B409-AFCF-8D16A3069248}"/>
          </ac:spMkLst>
        </pc:spChg>
        <pc:spChg chg="add del mod">
          <ac:chgData name="Auradee Castro" userId="5b47d84d-e816-421d-a9bd-ea845bdedce9" providerId="ADAL" clId="{ABC34375-8FCD-4B3B-8662-4D95808BABCB}" dt="2023-04-12T03:21:16.679" v="13"/>
          <ac:spMkLst>
            <pc:docMk/>
            <pc:sldMk cId="1262739640" sldId="621"/>
            <ac:spMk id="4" creationId="{59605735-79A7-AC07-C1F4-8FB773BAC1D2}"/>
          </ac:spMkLst>
        </pc:spChg>
        <pc:spChg chg="add mod">
          <ac:chgData name="Auradee Castro" userId="5b47d84d-e816-421d-a9bd-ea845bdedce9" providerId="ADAL" clId="{ABC34375-8FCD-4B3B-8662-4D95808BABCB}" dt="2023-04-14T03:42:24.179" v="4768" actId="207"/>
          <ac:spMkLst>
            <pc:docMk/>
            <pc:sldMk cId="1262739640" sldId="621"/>
            <ac:spMk id="5" creationId="{8C2A81C2-CB9D-5E0D-1B45-AC1250F47E64}"/>
          </ac:spMkLst>
        </pc:spChg>
      </pc:sldChg>
      <pc:sldChg chg="modSp add mod">
        <pc:chgData name="Auradee Castro" userId="5b47d84d-e816-421d-a9bd-ea845bdedce9" providerId="ADAL" clId="{ABC34375-8FCD-4B3B-8662-4D95808BABCB}" dt="2023-04-14T01:06:57.716" v="3078" actId="1076"/>
        <pc:sldMkLst>
          <pc:docMk/>
          <pc:sldMk cId="2705744719" sldId="622"/>
        </pc:sldMkLst>
        <pc:spChg chg="mod">
          <ac:chgData name="Auradee Castro" userId="5b47d84d-e816-421d-a9bd-ea845bdedce9" providerId="ADAL" clId="{ABC34375-8FCD-4B3B-8662-4D95808BABCB}" dt="2023-04-14T01:06:51.158" v="3077" actId="1076"/>
          <ac:spMkLst>
            <pc:docMk/>
            <pc:sldMk cId="2705744719" sldId="622"/>
            <ac:spMk id="2" creationId="{6F01F978-CE85-1377-6EDE-D5FEBD8CE2D3}"/>
          </ac:spMkLst>
        </pc:spChg>
        <pc:spChg chg="mod">
          <ac:chgData name="Auradee Castro" userId="5b47d84d-e816-421d-a9bd-ea845bdedce9" providerId="ADAL" clId="{ABC34375-8FCD-4B3B-8662-4D95808BABCB}" dt="2023-04-14T01:06:57.716" v="3078" actId="1076"/>
          <ac:spMkLst>
            <pc:docMk/>
            <pc:sldMk cId="2705744719" sldId="622"/>
            <ac:spMk id="3" creationId="{D9C9ACA2-A3AE-D6EF-CC33-B149455093C7}"/>
          </ac:spMkLst>
        </pc:spChg>
        <pc:spChg chg="mod">
          <ac:chgData name="Auradee Castro" userId="5b47d84d-e816-421d-a9bd-ea845bdedce9" providerId="ADAL" clId="{ABC34375-8FCD-4B3B-8662-4D95808BABCB}" dt="2023-04-13T22:38:16.006" v="2947" actId="20577"/>
          <ac:spMkLst>
            <pc:docMk/>
            <pc:sldMk cId="2705744719" sldId="622"/>
            <ac:spMk id="7" creationId="{A29DD16F-C434-F01B-B19D-AAD93C5C2D57}"/>
          </ac:spMkLst>
        </pc:spChg>
        <pc:spChg chg="mod">
          <ac:chgData name="Auradee Castro" userId="5b47d84d-e816-421d-a9bd-ea845bdedce9" providerId="ADAL" clId="{ABC34375-8FCD-4B3B-8662-4D95808BABCB}" dt="2023-04-12T03:20:11.268" v="8" actId="20577"/>
          <ac:spMkLst>
            <pc:docMk/>
            <pc:sldMk cId="2705744719" sldId="622"/>
            <ac:spMk id="12" creationId="{04D82B57-FC93-F808-D711-41D7C57716AB}"/>
          </ac:spMkLst>
        </pc:spChg>
      </pc:sldChg>
      <pc:sldChg chg="addSp delSp modSp new mod">
        <pc:chgData name="Auradee Castro" userId="5b47d84d-e816-421d-a9bd-ea845bdedce9" providerId="ADAL" clId="{ABC34375-8FCD-4B3B-8662-4D95808BABCB}" dt="2023-04-14T03:47:56.892" v="4773" actId="20577"/>
        <pc:sldMkLst>
          <pc:docMk/>
          <pc:sldMk cId="286777989" sldId="623"/>
        </pc:sldMkLst>
        <pc:spChg chg="mod">
          <ac:chgData name="Auradee Castro" userId="5b47d84d-e816-421d-a9bd-ea845bdedce9" providerId="ADAL" clId="{ABC34375-8FCD-4B3B-8662-4D95808BABCB}" dt="2023-04-14T03:47:56.892" v="4773" actId="20577"/>
          <ac:spMkLst>
            <pc:docMk/>
            <pc:sldMk cId="286777989" sldId="623"/>
            <ac:spMk id="2" creationId="{8BCED87D-5B8F-492E-C37F-5ADCD6BD8085}"/>
          </ac:spMkLst>
        </pc:spChg>
        <pc:picChg chg="add del mod">
          <ac:chgData name="Auradee Castro" userId="5b47d84d-e816-421d-a9bd-ea845bdedce9" providerId="ADAL" clId="{ABC34375-8FCD-4B3B-8662-4D95808BABCB}" dt="2023-04-12T05:41:19.044" v="2355" actId="21"/>
          <ac:picMkLst>
            <pc:docMk/>
            <pc:sldMk cId="286777989" sldId="623"/>
            <ac:picMk id="3" creationId="{9E3C287C-868A-3DDF-54E5-DCBEC6D69482}"/>
          </ac:picMkLst>
        </pc:picChg>
        <pc:picChg chg="add mod">
          <ac:chgData name="Auradee Castro" userId="5b47d84d-e816-421d-a9bd-ea845bdedce9" providerId="ADAL" clId="{ABC34375-8FCD-4B3B-8662-4D95808BABCB}" dt="2023-04-13T22:05:26.243" v="2905" actId="14100"/>
          <ac:picMkLst>
            <pc:docMk/>
            <pc:sldMk cId="286777989" sldId="623"/>
            <ac:picMk id="4" creationId="{A84A5E34-643E-9298-778A-1BEF9E8661DD}"/>
          </ac:picMkLst>
        </pc:picChg>
        <pc:picChg chg="add del mod">
          <ac:chgData name="Auradee Castro" userId="5b47d84d-e816-421d-a9bd-ea845bdedce9" providerId="ADAL" clId="{ABC34375-8FCD-4B3B-8662-4D95808BABCB}" dt="2023-04-12T05:50:15.139" v="2494" actId="21"/>
          <ac:picMkLst>
            <pc:docMk/>
            <pc:sldMk cId="286777989" sldId="623"/>
            <ac:picMk id="6" creationId="{26357931-A11C-7984-46A4-71DC6FE363EB}"/>
          </ac:picMkLst>
        </pc:picChg>
        <pc:picChg chg="add del mod">
          <ac:chgData name="Auradee Castro" userId="5b47d84d-e816-421d-a9bd-ea845bdedce9" providerId="ADAL" clId="{ABC34375-8FCD-4B3B-8662-4D95808BABCB}" dt="2023-04-12T05:50:07.857" v="2491" actId="21"/>
          <ac:picMkLst>
            <pc:docMk/>
            <pc:sldMk cId="286777989" sldId="623"/>
            <ac:picMk id="8" creationId="{0F444F60-7847-AC51-C5F4-80EBCF3582D8}"/>
          </ac:picMkLst>
        </pc:picChg>
        <pc:picChg chg="add mod">
          <ac:chgData name="Auradee Castro" userId="5b47d84d-e816-421d-a9bd-ea845bdedce9" providerId="ADAL" clId="{ABC34375-8FCD-4B3B-8662-4D95808BABCB}" dt="2023-04-13T22:05:26.243" v="2905" actId="14100"/>
          <ac:picMkLst>
            <pc:docMk/>
            <pc:sldMk cId="286777989" sldId="623"/>
            <ac:picMk id="9" creationId="{8C708AAA-B6B3-3434-DF2C-33DCD399E351}"/>
          </ac:picMkLst>
        </pc:picChg>
      </pc:sldChg>
      <pc:sldChg chg="new del">
        <pc:chgData name="Auradee Castro" userId="5b47d84d-e816-421d-a9bd-ea845bdedce9" providerId="ADAL" clId="{ABC34375-8FCD-4B3B-8662-4D95808BABCB}" dt="2023-04-12T05:49:48.916" v="2485" actId="680"/>
        <pc:sldMkLst>
          <pc:docMk/>
          <pc:sldMk cId="174047460" sldId="624"/>
        </pc:sldMkLst>
      </pc:sldChg>
      <pc:sldChg chg="delSp modSp mod">
        <pc:chgData name="Auradee Castro" userId="5b47d84d-e816-421d-a9bd-ea845bdedce9" providerId="ADAL" clId="{ABC34375-8FCD-4B3B-8662-4D95808BABCB}" dt="2023-04-14T13:12:30.742" v="4858" actId="14100"/>
        <pc:sldMkLst>
          <pc:docMk/>
          <pc:sldMk cId="4028579692" sldId="624"/>
        </pc:sldMkLst>
        <pc:spChg chg="mod">
          <ac:chgData name="Auradee Castro" userId="5b47d84d-e816-421d-a9bd-ea845bdedce9" providerId="ADAL" clId="{ABC34375-8FCD-4B3B-8662-4D95808BABCB}" dt="2023-04-14T00:47:08.455" v="3063" actId="20577"/>
          <ac:spMkLst>
            <pc:docMk/>
            <pc:sldMk cId="4028579692" sldId="624"/>
            <ac:spMk id="2" creationId="{415440F6-D3C2-D26E-B3D1-6D3D51BFBA27}"/>
          </ac:spMkLst>
        </pc:spChg>
        <pc:spChg chg="del">
          <ac:chgData name="Auradee Castro" userId="5b47d84d-e816-421d-a9bd-ea845bdedce9" providerId="ADAL" clId="{ABC34375-8FCD-4B3B-8662-4D95808BABCB}" dt="2023-04-14T00:43:55.972" v="2973" actId="478"/>
          <ac:spMkLst>
            <pc:docMk/>
            <pc:sldMk cId="4028579692" sldId="624"/>
            <ac:spMk id="5" creationId="{5AF22215-0F22-27C6-B59B-EAF1016DEF87}"/>
          </ac:spMkLst>
        </pc:spChg>
        <pc:picChg chg="mod modCrop">
          <ac:chgData name="Auradee Castro" userId="5b47d84d-e816-421d-a9bd-ea845bdedce9" providerId="ADAL" clId="{ABC34375-8FCD-4B3B-8662-4D95808BABCB}" dt="2023-04-14T13:12:30.742" v="4858" actId="14100"/>
          <ac:picMkLst>
            <pc:docMk/>
            <pc:sldMk cId="4028579692" sldId="624"/>
            <ac:picMk id="3" creationId="{30B36639-A1FB-DDFE-3EA5-17C260C09072}"/>
          </ac:picMkLst>
        </pc:picChg>
      </pc:sldChg>
      <pc:sldChg chg="delSp modSp mod">
        <pc:chgData name="Auradee Castro" userId="5b47d84d-e816-421d-a9bd-ea845bdedce9" providerId="ADAL" clId="{ABC34375-8FCD-4B3B-8662-4D95808BABCB}" dt="2023-04-14T13:12:59.770" v="4862" actId="14100"/>
        <pc:sldMkLst>
          <pc:docMk/>
          <pc:sldMk cId="1739270523" sldId="625"/>
        </pc:sldMkLst>
        <pc:spChg chg="mod">
          <ac:chgData name="Auradee Castro" userId="5b47d84d-e816-421d-a9bd-ea845bdedce9" providerId="ADAL" clId="{ABC34375-8FCD-4B3B-8662-4D95808BABCB}" dt="2023-04-14T00:47:13.918" v="3064"/>
          <ac:spMkLst>
            <pc:docMk/>
            <pc:sldMk cId="1739270523" sldId="625"/>
            <ac:spMk id="2" creationId="{415440F6-D3C2-D26E-B3D1-6D3D51BFBA27}"/>
          </ac:spMkLst>
        </pc:spChg>
        <pc:spChg chg="del">
          <ac:chgData name="Auradee Castro" userId="5b47d84d-e816-421d-a9bd-ea845bdedce9" providerId="ADAL" clId="{ABC34375-8FCD-4B3B-8662-4D95808BABCB}" dt="2023-04-14T00:47:15.312" v="3065" actId="478"/>
          <ac:spMkLst>
            <pc:docMk/>
            <pc:sldMk cId="1739270523" sldId="625"/>
            <ac:spMk id="6" creationId="{81D86A68-4D15-2AE4-C414-910D4A4B66B6}"/>
          </ac:spMkLst>
        </pc:spChg>
        <pc:picChg chg="mod modCrop">
          <ac:chgData name="Auradee Castro" userId="5b47d84d-e816-421d-a9bd-ea845bdedce9" providerId="ADAL" clId="{ABC34375-8FCD-4B3B-8662-4D95808BABCB}" dt="2023-04-14T13:12:59.770" v="4862" actId="14100"/>
          <ac:picMkLst>
            <pc:docMk/>
            <pc:sldMk cId="1739270523" sldId="625"/>
            <ac:picMk id="4" creationId="{7D78FBF2-7B08-E2C1-7C6A-002062DDC084}"/>
          </ac:picMkLst>
        </pc:picChg>
      </pc:sldChg>
      <pc:sldChg chg="delSp modSp mod">
        <pc:chgData name="Auradee Castro" userId="5b47d84d-e816-421d-a9bd-ea845bdedce9" providerId="ADAL" clId="{ABC34375-8FCD-4B3B-8662-4D95808BABCB}" dt="2023-04-14T13:13:12.409" v="4864" actId="732"/>
        <pc:sldMkLst>
          <pc:docMk/>
          <pc:sldMk cId="810073572" sldId="626"/>
        </pc:sldMkLst>
        <pc:spChg chg="mod">
          <ac:chgData name="Auradee Castro" userId="5b47d84d-e816-421d-a9bd-ea845bdedce9" providerId="ADAL" clId="{ABC34375-8FCD-4B3B-8662-4D95808BABCB}" dt="2023-04-14T00:47:17.742" v="3066"/>
          <ac:spMkLst>
            <pc:docMk/>
            <pc:sldMk cId="810073572" sldId="626"/>
            <ac:spMk id="2" creationId="{415440F6-D3C2-D26E-B3D1-6D3D51BFBA27}"/>
          </ac:spMkLst>
        </pc:spChg>
        <pc:spChg chg="del">
          <ac:chgData name="Auradee Castro" userId="5b47d84d-e816-421d-a9bd-ea845bdedce9" providerId="ADAL" clId="{ABC34375-8FCD-4B3B-8662-4D95808BABCB}" dt="2023-04-14T00:47:19.457" v="3067" actId="478"/>
          <ac:spMkLst>
            <pc:docMk/>
            <pc:sldMk cId="810073572" sldId="626"/>
            <ac:spMk id="6" creationId="{CF5AFD39-DC81-FCCE-C828-BF5A1F3DAAFA}"/>
          </ac:spMkLst>
        </pc:spChg>
        <pc:picChg chg="mod modCrop">
          <ac:chgData name="Auradee Castro" userId="5b47d84d-e816-421d-a9bd-ea845bdedce9" providerId="ADAL" clId="{ABC34375-8FCD-4B3B-8662-4D95808BABCB}" dt="2023-04-14T13:13:12.409" v="4864" actId="732"/>
          <ac:picMkLst>
            <pc:docMk/>
            <pc:sldMk cId="810073572" sldId="626"/>
            <ac:picMk id="4" creationId="{29AD41B9-C968-BDFA-23FA-59020ADB9974}"/>
          </ac:picMkLst>
        </pc:picChg>
      </pc:sldChg>
      <pc:sldChg chg="delSp modSp mod">
        <pc:chgData name="Auradee Castro" userId="5b47d84d-e816-421d-a9bd-ea845bdedce9" providerId="ADAL" clId="{ABC34375-8FCD-4B3B-8662-4D95808BABCB}" dt="2023-04-14T13:13:49.304" v="4870" actId="732"/>
        <pc:sldMkLst>
          <pc:docMk/>
          <pc:sldMk cId="3790078528" sldId="627"/>
        </pc:sldMkLst>
        <pc:spChg chg="mod">
          <ac:chgData name="Auradee Castro" userId="5b47d84d-e816-421d-a9bd-ea845bdedce9" providerId="ADAL" clId="{ABC34375-8FCD-4B3B-8662-4D95808BABCB}" dt="2023-04-14T00:47:22.145" v="3068"/>
          <ac:spMkLst>
            <pc:docMk/>
            <pc:sldMk cId="3790078528" sldId="627"/>
            <ac:spMk id="2" creationId="{415440F6-D3C2-D26E-B3D1-6D3D51BFBA27}"/>
          </ac:spMkLst>
        </pc:spChg>
        <pc:spChg chg="del">
          <ac:chgData name="Auradee Castro" userId="5b47d84d-e816-421d-a9bd-ea845bdedce9" providerId="ADAL" clId="{ABC34375-8FCD-4B3B-8662-4D95808BABCB}" dt="2023-04-14T00:47:23.859" v="3069" actId="478"/>
          <ac:spMkLst>
            <pc:docMk/>
            <pc:sldMk cId="3790078528" sldId="627"/>
            <ac:spMk id="6" creationId="{85C39783-E2DB-9B27-6D68-E5EEEC25C833}"/>
          </ac:spMkLst>
        </pc:spChg>
        <pc:picChg chg="mod modCrop">
          <ac:chgData name="Auradee Castro" userId="5b47d84d-e816-421d-a9bd-ea845bdedce9" providerId="ADAL" clId="{ABC34375-8FCD-4B3B-8662-4D95808BABCB}" dt="2023-04-14T13:13:49.304" v="4870" actId="732"/>
          <ac:picMkLst>
            <pc:docMk/>
            <pc:sldMk cId="3790078528" sldId="627"/>
            <ac:picMk id="4" creationId="{D019943F-187F-1430-E8C3-F8DEE94859A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2591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2591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fld id="{8512D75A-4968-4B85-978D-6B81A9CAAE46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615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3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9" y="4713361"/>
            <a:ext cx="4984107" cy="4468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3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fld id="{686D6E00-0F62-4B93-946A-D3C2B941BC77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92406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rush4ratio/video-game-sales-with-rating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tx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Game Sales with Ratings | Kaggle</a:t>
            </a:r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07100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2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04531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67613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1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11607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1" y="0"/>
            <a:ext cx="1511928" cy="6858000"/>
          </a:xfrm>
          <a:prstGeom prst="rect">
            <a:avLst/>
          </a:prstGeom>
          <a:solidFill>
            <a:srgbClr val="202C5C"/>
          </a:solidFill>
          <a:ln>
            <a:noFill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989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961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3" name="オブジェクト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5"/>
          <p:cNvSpPr>
            <a:spLocks noChangeShapeType="1"/>
          </p:cNvSpPr>
          <p:nvPr userDrawn="1"/>
        </p:nvSpPr>
        <p:spPr bwMode="gray">
          <a:xfrm>
            <a:off x="0" y="620713"/>
            <a:ext cx="9906000" cy="0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02C5C"/>
                </a:solidFill>
              </a:defRPr>
            </a:lvl1pPr>
          </a:lstStyle>
          <a:p>
            <a:r>
              <a:rPr kumimoji="1" lang="ja-JP" altLang="en-US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5181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4"/>
          <p:cNvSpPr>
            <a:spLocks noChangeArrowheads="1"/>
          </p:cNvSpPr>
          <p:nvPr userDrawn="1"/>
        </p:nvSpPr>
        <p:spPr bwMode="auto">
          <a:xfrm>
            <a:off x="0" y="6742112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  <p:sp>
        <p:nvSpPr>
          <p:cNvPr id="8" name="タイトル 1"/>
          <p:cNvSpPr>
            <a:spLocks noGrp="1"/>
          </p:cNvSpPr>
          <p:nvPr>
            <p:ph type="ctrTitle"/>
          </p:nvPr>
        </p:nvSpPr>
        <p:spPr>
          <a:xfrm>
            <a:off x="812799" y="3178914"/>
            <a:ext cx="8280400" cy="533411"/>
          </a:xfrm>
          <a:prstGeom prst="rect">
            <a:avLst/>
          </a:prstGeom>
        </p:spPr>
        <p:txBody>
          <a:bodyPr tIns="36000" anchor="t">
            <a:sp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812799" y="2547825"/>
            <a:ext cx="7235826" cy="405683"/>
          </a:xfrm>
        </p:spPr>
        <p:txBody>
          <a:bodyPr lIns="0" tIns="36000" rIns="0" bIns="0">
            <a:spAutoFit/>
          </a:bodyPr>
          <a:lstStyle>
            <a:lvl1pPr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9" name="角丸四角形 4">
            <a:extLst>
              <a:ext uri="{FF2B5EF4-FFF2-40B4-BE49-F238E27FC236}">
                <a16:creationId xmlns:a16="http://schemas.microsoft.com/office/drawing/2014/main" id="{2784892C-4B71-4235-89BD-DBFC7C4CBD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1338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178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07303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スライド" r:id="rId8" imgW="270" imgH="270" progId="TCLayout.ActiveDocument.1">
                  <p:embed/>
                </p:oleObj>
              </mc:Choice>
              <mc:Fallback>
                <p:oleObj name="think-cell スライド" r:id="rId8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</a:t>
            </a:r>
            <a:r>
              <a:rPr lang="ja-JP" altLang="en-US"/>
              <a:t>レベル</a:t>
            </a:r>
            <a:endParaRPr lang="en-US" altLang="ja-JP"/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4782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14" r:id="rId3"/>
    <p:sldLayoutId id="2147483704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kern="1200" noProof="0" dirty="0">
          <a:solidFill>
            <a:srgbClr val="202C5C"/>
          </a:solidFill>
          <a:latin typeface="+mj-lt"/>
          <a:ea typeface="+mj-ea"/>
          <a:cs typeface="Meiryo UI" panose="020B0604030504040204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ts val="6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1pPr>
      <a:lvl2pPr marL="450850" indent="-196850" algn="l" rtl="0" eaLnBrk="1" fontAlgn="base" hangingPunct="1">
        <a:spcBef>
          <a:spcPts val="600"/>
        </a:spcBef>
        <a:spcAft>
          <a:spcPct val="0"/>
        </a:spcAft>
        <a:buSzPct val="90000"/>
        <a:buFont typeface="Arial" panose="020B0604020202020204" pitchFamily="34" charset="0"/>
        <a:buChar char="●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2pPr>
      <a:lvl3pPr marL="846138" indent="-179388" algn="l" rtl="0" eaLnBrk="1" fontAlgn="base" hangingPunct="1">
        <a:spcBef>
          <a:spcPts val="600"/>
        </a:spcBef>
        <a:spcAft>
          <a:spcPct val="0"/>
        </a:spcAft>
        <a:buSzPct val="9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3pPr>
      <a:lvl4pPr marL="1228725" indent="-158750" algn="l" rtl="0" eaLnBrk="1" fontAlgn="base" hangingPunct="1">
        <a:spcBef>
          <a:spcPts val="600"/>
        </a:spcBef>
        <a:spcAft>
          <a:spcPct val="0"/>
        </a:spcAft>
        <a:buSzPct val="70000"/>
        <a:buFont typeface="Arial" panose="020B0604020202020204" pitchFamily="34" charset="0"/>
        <a:buChar char="○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4pPr>
      <a:lvl5pPr marL="1617663" indent="-176213" algn="l" rtl="0" eaLnBrk="1" fontAlgn="base" hangingPunct="1">
        <a:spcBef>
          <a:spcPts val="600"/>
        </a:spcBef>
        <a:spcAft>
          <a:spcPct val="0"/>
        </a:spcAft>
        <a:buSzPct val="7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5pPr>
      <a:lvl6pPr marL="2038350" indent="0" algn="l" rtl="0" eaLnBrk="1" fontAlgn="base" hangingPunct="1">
        <a:spcBef>
          <a:spcPct val="30000"/>
        </a:spcBef>
        <a:spcAft>
          <a:spcPct val="0"/>
        </a:spcAft>
        <a:buSzPct val="70000"/>
        <a:buNone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gchartz.com/gamedb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gchartz.com/gamedb/" TargetMode="External"/><Relationship Id="rId7" Type="http://schemas.openxmlformats.org/officeDocument/2006/relationships/hyperlink" Target="https://towardsdatascience.com/cosine-similarity-how-does-it-measure-the-similarity-maths-behind-and-usage-in-python-50ad30aad7db" TargetMode="External"/><Relationship Id="rId2" Type="http://schemas.openxmlformats.org/officeDocument/2006/relationships/hyperlink" Target="https://www.kaggle.com/datasets/rush4ratio/video-game-sales-with-rating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man-makwana101932.medium.com/understanding-recommendation-system-and-knn-with-project-book-recommendation-system-c648e47ff4f6" TargetMode="External"/><Relationship Id="rId5" Type="http://schemas.openxmlformats.org/officeDocument/2006/relationships/hyperlink" Target="https://www.aurigait.com/blog/recommendation-system-using-knn/" TargetMode="External"/><Relationship Id="rId4" Type="http://schemas.openxmlformats.org/officeDocument/2006/relationships/hyperlink" Target="https://thecleverprogrammer.com/2021/01/17/book-recommendation-system/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microsoft.com/office/2011/relationships/webextension" Target="../webextensions/webextension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microsoft.com/office/2011/relationships/webextension" Target="../webextensions/webextension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45230505-309A-D65C-3DA2-9043C215C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040" y="5166243"/>
            <a:ext cx="2733255" cy="80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C9ACA2-A3AE-D6EF-CC33-B149455093C7}"/>
              </a:ext>
            </a:extLst>
          </p:cNvPr>
          <p:cNvSpPr txBox="1"/>
          <p:nvPr/>
        </p:nvSpPr>
        <p:spPr>
          <a:xfrm>
            <a:off x="770819" y="2895474"/>
            <a:ext cx="1783080" cy="28257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b="1" i="0" u="none">
                <a:solidFill>
                  <a:srgbClr val="4A4A4A"/>
                </a:solidFill>
                <a:effectLst/>
                <a:latin typeface="Quattrocento Sans" panose="020B0502050000020003" pitchFamily="34" charset="0"/>
              </a:rPr>
              <a:t>April 20, 2023</a:t>
            </a:r>
            <a:endParaRPr lang="en-US" b="1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29DD16F-C434-F01B-B19D-AAD93C5C2D57}"/>
              </a:ext>
            </a:extLst>
          </p:cNvPr>
          <p:cNvSpPr txBox="1">
            <a:spLocks/>
          </p:cNvSpPr>
          <p:nvPr/>
        </p:nvSpPr>
        <p:spPr bwMode="auto">
          <a:xfrm>
            <a:off x="770819" y="1153502"/>
            <a:ext cx="8194042" cy="1559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/>
              <a:t>BDM2053 – Big Data Algorithms and Statistics</a:t>
            </a:r>
          </a:p>
          <a:p>
            <a:r>
              <a:rPr lang="en-US" sz="3500"/>
              <a:t>Video Games Trend Analysis (Recommendation System)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4D82B57-FC93-F808-D711-41D7C57716AB}"/>
              </a:ext>
            </a:extLst>
          </p:cNvPr>
          <p:cNvSpPr txBox="1">
            <a:spLocks/>
          </p:cNvSpPr>
          <p:nvPr/>
        </p:nvSpPr>
        <p:spPr>
          <a:xfrm>
            <a:off x="770820" y="4421394"/>
            <a:ext cx="3959224" cy="1847425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by Group 12 :</a:t>
            </a:r>
            <a:br>
              <a:rPr lang="en-US" altLang="ja-JP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Auradee Castro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Bhumika Rajendra Babu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Miraj Sinya 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Olivia </a:t>
            </a:r>
            <a:r>
              <a:rPr lang="en-US" sz="1800" b="0" err="1">
                <a:latin typeface="Calibri" panose="020F0502020204030204" pitchFamily="34" charset="0"/>
              </a:rPr>
              <a:t>Deguit</a:t>
            </a:r>
            <a:r>
              <a:rPr lang="en-US" sz="1800" b="0">
                <a:latin typeface="Calibri" panose="020F0502020204030204" pitchFamily="34" charset="0"/>
              </a:rPr>
              <a:t> 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Roger </a:t>
            </a:r>
            <a:r>
              <a:rPr lang="en-US" sz="1800" b="0" err="1">
                <a:latin typeface="Calibri" panose="020F0502020204030204" pitchFamily="34" charset="0"/>
              </a:rPr>
              <a:t>Mais</a:t>
            </a:r>
            <a:r>
              <a:rPr lang="en-US" sz="1800" b="0">
                <a:latin typeface="Calibri" panose="020F0502020204030204" pitchFamily="34" charset="0"/>
              </a:rPr>
              <a:t> </a:t>
            </a:r>
            <a:endParaRPr lang="en-US">
              <a:solidFill>
                <a:srgbClr val="182044"/>
              </a:solidFill>
              <a:latin typeface="+mj-lt"/>
              <a:ea typeface="+mj-ea"/>
              <a:cs typeface="Arial Bold" panose="020B070402020202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F01F978-CE85-1377-6EDE-D5FEBD8CE2D3}"/>
              </a:ext>
            </a:extLst>
          </p:cNvPr>
          <p:cNvSpPr txBox="1">
            <a:spLocks/>
          </p:cNvSpPr>
          <p:nvPr/>
        </p:nvSpPr>
        <p:spPr>
          <a:xfrm>
            <a:off x="770819" y="3630605"/>
            <a:ext cx="3959224" cy="621833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to :</a:t>
            </a:r>
          </a:p>
          <a:p>
            <a:r>
              <a:rPr lang="en-US" altLang="ja-JP" sz="1800" b="0">
                <a:latin typeface="+mj-lt"/>
                <a:ea typeface="+mj-ea"/>
                <a:cs typeface="Arial Bold" panose="020B0704020202020204" pitchFamily="34" charset="0"/>
              </a:rPr>
              <a:t>Prof. </a:t>
            </a:r>
            <a:r>
              <a:rPr lang="en-US" altLang="ja-JP" sz="1800" b="0" err="1">
                <a:latin typeface="+mj-lt"/>
                <a:ea typeface="+mj-ea"/>
                <a:cs typeface="Arial Bold" panose="020B0704020202020204" pitchFamily="34" charset="0"/>
              </a:rPr>
              <a:t>Dhruwal</a:t>
            </a:r>
            <a:r>
              <a:rPr lang="en-US" altLang="ja-JP" sz="1800" b="0">
                <a:latin typeface="+mj-lt"/>
                <a:ea typeface="+mj-ea"/>
                <a:cs typeface="Arial Bold" panose="020B0704020202020204" pitchFamily="34" charset="0"/>
              </a:rPr>
              <a:t> Shah</a:t>
            </a:r>
            <a:endParaRPr lang="en-US" b="0">
              <a:latin typeface="+mj-lt"/>
              <a:ea typeface="+mj-ea"/>
              <a:cs typeface="Arial Bold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744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1/4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98DED3-6EBE-9420-4050-DD8821FCBAF3}"/>
              </a:ext>
            </a:extLst>
          </p:cNvPr>
          <p:cNvSpPr txBox="1"/>
          <p:nvPr/>
        </p:nvSpPr>
        <p:spPr>
          <a:xfrm>
            <a:off x="457200" y="910356"/>
            <a:ext cx="8991600" cy="206767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cke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ssing values for each relevant feature in the dataset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ssing-data imputation on critic scores and user scores</a:t>
            </a:r>
          </a:p>
          <a:p>
            <a:pPr marL="741363" lvl="1"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imputed data is the mean value of the respective feature within a particular genre, e.g., the average of all user scores under the 'Action' category.</a:t>
            </a:r>
            <a:endParaRPr lang="en-US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moval of missing data for other featur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alyzed data distribution for each feature by leveraging Matplotlib &amp; Seaborn packages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5B008558-63AD-8B3B-2A2E-C1978672EB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80" y="3429000"/>
            <a:ext cx="8294914" cy="298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37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ED87D-5B8F-492E-C37F-5ADCD6BD8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2/4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2CE90A-BD29-70C8-E2AE-6E44589214C7}"/>
              </a:ext>
            </a:extLst>
          </p:cNvPr>
          <p:cNvSpPr txBox="1"/>
          <p:nvPr/>
        </p:nvSpPr>
        <p:spPr>
          <a:xfrm>
            <a:off x="457201" y="840906"/>
            <a:ext cx="8991599" cy="682682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altLang="ja-JP" sz="140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 is a scarcity of data available for certain platforms such as DC, and ratings such as 'K-A', 'AO’, ‘EC’ and 'RP’. If a game falls under these platforms or ratings, the recommendations might also include games from other platforms or ratings that share similar features based on various factors used in distance calculation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E3317AF8-BFC6-38C2-435B-0CE2C36A4A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42" y="1588342"/>
            <a:ext cx="6906987" cy="2488034"/>
          </a:xfrm>
          <a:prstGeom prst="rect">
            <a:avLst/>
          </a:prstGeom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8AF0771D-7053-699A-D742-67B9583D79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43" y="4141130"/>
            <a:ext cx="6906987" cy="248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77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3/4)</a:t>
            </a: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2BDC6266-188A-7FEF-2F35-D2799FFB43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071" y="1175657"/>
            <a:ext cx="4961520" cy="5004354"/>
          </a:xfrm>
          <a:prstGeom prst="rect">
            <a:avLst/>
          </a:prstGeom>
        </p:spPr>
      </p:pic>
      <p:pic>
        <p:nvPicPr>
          <p:cNvPr id="4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1A51478D-C4BF-9F30-7A65-08DB79263C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09" y="1349173"/>
            <a:ext cx="4068060" cy="2270948"/>
          </a:xfrm>
          <a:prstGeom prst="rect">
            <a:avLst/>
          </a:prstGeom>
        </p:spPr>
      </p:pic>
      <p:pic>
        <p:nvPicPr>
          <p:cNvPr id="8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63630677-D644-8C9D-7227-A6F6421723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10" y="3759741"/>
            <a:ext cx="4068060" cy="227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115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07C36-19AE-BBDB-BD2C-D09D3CC47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4/4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3359AE-AA5B-CBC7-69D2-311119A800FA}"/>
              </a:ext>
            </a:extLst>
          </p:cNvPr>
          <p:cNvSpPr txBox="1"/>
          <p:nvPr/>
        </p:nvSpPr>
        <p:spPr>
          <a:xfrm>
            <a:off x="457200" y="910356"/>
            <a:ext cx="8991600" cy="851959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ja-JP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verted categorical features to dummy indicators where the value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0 (representing No) or 1 (representing Yes)</a:t>
            </a:r>
            <a:endParaRPr lang="en-US" altLang="ja-JP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formed numerical features to a standardized form for features to have similar scale</a:t>
            </a:r>
            <a:endParaRPr lang="en-US" altLang="ja-JP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427CA274-EE04-575B-2532-8E30634CB6AA}"/>
              </a:ext>
            </a:extLst>
          </p:cNvPr>
          <p:cNvSpPr/>
          <p:nvPr/>
        </p:nvSpPr>
        <p:spPr bwMode="auto">
          <a:xfrm>
            <a:off x="3537857" y="4028440"/>
            <a:ext cx="3116943" cy="74676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rPr>
              <a:t>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rPr>
              <a:t>Preprocess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86B90B-3781-FAD8-9627-8BD967AFD0D2}"/>
              </a:ext>
            </a:extLst>
          </p:cNvPr>
          <p:cNvGrpSpPr/>
          <p:nvPr/>
        </p:nvGrpSpPr>
        <p:grpSpPr>
          <a:xfrm>
            <a:off x="653143" y="1858278"/>
            <a:ext cx="8688977" cy="2096745"/>
            <a:chOff x="653143" y="2079015"/>
            <a:chExt cx="8688977" cy="209674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09936F8-5086-199E-D661-E0B3D20BD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5542" y="2275398"/>
              <a:ext cx="8447315" cy="1892956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6233AC-AA9D-395A-437A-7A51F9F152E1}"/>
                </a:ext>
              </a:extLst>
            </p:cNvPr>
            <p:cNvSpPr/>
            <p:nvPr/>
          </p:nvSpPr>
          <p:spPr bwMode="auto">
            <a:xfrm>
              <a:off x="653143" y="2090057"/>
              <a:ext cx="8688977" cy="2085703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281DFA7-C054-C153-9D89-C3D08F723456}"/>
                </a:ext>
              </a:extLst>
            </p:cNvPr>
            <p:cNvSpPr txBox="1"/>
            <p:nvPr/>
          </p:nvSpPr>
          <p:spPr>
            <a:xfrm>
              <a:off x="844004" y="2079015"/>
              <a:ext cx="1121955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050" i="1">
                  <a:latin typeface="+mn-lt"/>
                  <a:ea typeface="+mn-ea"/>
                </a:rPr>
                <a:t>Raw Data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C96075-D37A-4B4F-D3BE-4EC9571DFEC4}"/>
              </a:ext>
            </a:extLst>
          </p:cNvPr>
          <p:cNvGrpSpPr/>
          <p:nvPr/>
        </p:nvGrpSpPr>
        <p:grpSpPr>
          <a:xfrm>
            <a:off x="653144" y="4829312"/>
            <a:ext cx="8720544" cy="1767146"/>
            <a:chOff x="684710" y="4826382"/>
            <a:chExt cx="8688977" cy="176714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4C488DA-E7E2-AA6C-F26F-1D7E30CC5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5542" y="5027091"/>
              <a:ext cx="8447315" cy="1416146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B548BE-CE88-D9C2-747B-05A0B893B015}"/>
                </a:ext>
              </a:extLst>
            </p:cNvPr>
            <p:cNvSpPr/>
            <p:nvPr/>
          </p:nvSpPr>
          <p:spPr bwMode="auto">
            <a:xfrm>
              <a:off x="684710" y="4826382"/>
              <a:ext cx="8688977" cy="1767146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CFDDD0-0A00-FD34-5CC1-ACB57D8D49F2}"/>
                </a:ext>
              </a:extLst>
            </p:cNvPr>
            <p:cNvSpPr txBox="1"/>
            <p:nvPr/>
          </p:nvSpPr>
          <p:spPr>
            <a:xfrm>
              <a:off x="844003" y="4826382"/>
              <a:ext cx="1121955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50" i="1">
                  <a:latin typeface="+mn-lt"/>
                  <a:ea typeface="+mn-ea"/>
                </a:rPr>
                <a:t>Clean</a:t>
              </a:r>
              <a:r>
                <a:rPr kumimoji="1" lang="en-US" sz="1050" i="1">
                  <a:latin typeface="+mn-lt"/>
                  <a:ea typeface="+mn-ea"/>
                </a:rPr>
                <a:t>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486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reation: Recommendation Model (KN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7A8754-1D17-CAE0-CE0A-967A1EB9AFAF}"/>
              </a:ext>
            </a:extLst>
          </p:cNvPr>
          <p:cNvSpPr txBox="1"/>
          <p:nvPr/>
        </p:nvSpPr>
        <p:spPr>
          <a:xfrm>
            <a:off x="5988667" y="3819582"/>
            <a:ext cx="3460952" cy="1113570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MS PGothic" panose="020B0600070205080204" pitchFamily="34" charset="-128"/>
                <a:cs typeface="Segoe UI"/>
              </a:rPr>
              <a:t>Complexity on the user input requirement is high, as the user needs to provide all 10 features that the model is trained on for </a:t>
            </a:r>
            <a:r>
              <a:rPr lang="en-US" sz="1400">
                <a:solidFill>
                  <a:srgbClr val="374151"/>
                </a:solidFill>
                <a:latin typeface="+mn-lt"/>
                <a:ea typeface="MS PGothic" panose="020B0600070205080204" pitchFamily="34" charset="-128"/>
              </a:rPr>
              <a:t>the recommendations to be generated</a:t>
            </a:r>
            <a:endParaRPr lang="en-US" sz="1400">
              <a:latin typeface="+mn-lt"/>
              <a:ea typeface="MS PGothic" panose="020B0600070205080204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0C97D-C254-5AED-AD73-3CEA2327AA91}"/>
              </a:ext>
            </a:extLst>
          </p:cNvPr>
          <p:cNvSpPr/>
          <p:nvPr/>
        </p:nvSpPr>
        <p:spPr bwMode="auto">
          <a:xfrm>
            <a:off x="5438489" y="3819584"/>
            <a:ext cx="452061" cy="111356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8D58D-1E37-5616-F4E4-A3A1C455860A}"/>
              </a:ext>
            </a:extLst>
          </p:cNvPr>
          <p:cNvSpPr/>
          <p:nvPr/>
        </p:nvSpPr>
        <p:spPr bwMode="auto">
          <a:xfrm>
            <a:off x="5446376" y="5115455"/>
            <a:ext cx="452061" cy="132833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B2C8EC-7BB0-6BE4-5058-F8275E640070}"/>
              </a:ext>
            </a:extLst>
          </p:cNvPr>
          <p:cNvCxnSpPr/>
          <p:nvPr/>
        </p:nvCxnSpPr>
        <p:spPr bwMode="auto">
          <a:xfrm flipH="1">
            <a:off x="5438489" y="5024302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67C3EA3-64D3-8A95-6738-7A356990E4BB}"/>
              </a:ext>
            </a:extLst>
          </p:cNvPr>
          <p:cNvSpPr txBox="1"/>
          <p:nvPr/>
        </p:nvSpPr>
        <p:spPr>
          <a:xfrm>
            <a:off x="5988667" y="5115453"/>
            <a:ext cx="3460952" cy="898126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Segoe UI"/>
              </a:rPr>
              <a:t>Selecting a different model in order to get a better user experience with less input values</a:t>
            </a:r>
          </a:p>
          <a:p>
            <a:endParaRPr lang="en-US" sz="140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Segoe U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86B7E6-129E-B1E4-6FBC-909C171DD2BD}"/>
              </a:ext>
            </a:extLst>
          </p:cNvPr>
          <p:cNvSpPr/>
          <p:nvPr/>
        </p:nvSpPr>
        <p:spPr bwMode="auto">
          <a:xfrm>
            <a:off x="5438489" y="1368198"/>
            <a:ext cx="452061" cy="226908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od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3FE64F-9467-00A4-2DCB-DF4196653732}"/>
              </a:ext>
            </a:extLst>
          </p:cNvPr>
          <p:cNvCxnSpPr/>
          <p:nvPr/>
        </p:nvCxnSpPr>
        <p:spPr bwMode="auto">
          <a:xfrm flipH="1">
            <a:off x="5426052" y="3728432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F541673-A766-D3D7-A666-A4C68D414F42}"/>
              </a:ext>
            </a:extLst>
          </p:cNvPr>
          <p:cNvSpPr txBox="1"/>
          <p:nvPr/>
        </p:nvSpPr>
        <p:spPr>
          <a:xfrm>
            <a:off x="5988666" y="1365779"/>
            <a:ext cx="3547393" cy="2190788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</a:rPr>
              <a:t>K-Nearest Neighbor (KNN) from Python scikit-learn is used to create the model</a:t>
            </a:r>
            <a:endParaRPr lang="en-US" sz="1400">
              <a:latin typeface="+mn-lt"/>
            </a:endParaRPr>
          </a:p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</a:rPr>
              <a:t>KNN is a supervised machine learning algorithm that employs distance calculation to determine the similarity between data points</a:t>
            </a:r>
            <a:endParaRPr lang="en-US" sz="1400">
              <a:latin typeface="+mn-lt"/>
            </a:endParaRPr>
          </a:p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  <a:cs typeface="Segoe UI"/>
              </a:rPr>
              <a:t>Value of K determines the number of neighboring data points to be considered during classification or regression</a:t>
            </a:r>
            <a:endParaRPr lang="en-US" sz="140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Segoe UI"/>
            </a:endParaRP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426051" y="933208"/>
            <a:ext cx="4110009" cy="318924"/>
            <a:chOff x="1016089" y="1463949"/>
            <a:chExt cx="2016000" cy="318924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479" y="1463949"/>
              <a:ext cx="335238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296269" y="933208"/>
            <a:ext cx="4802539" cy="318924"/>
            <a:chOff x="1016089" y="1463949"/>
            <a:chExt cx="2016000" cy="318924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591" y="1463949"/>
              <a:ext cx="75701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Model Architecture</a:t>
              </a:r>
              <a:endParaRPr kumimoji="1" lang="ja-JP" altLang="en-US" sz="1600" b="0" i="0" u="non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E0214209-913B-A6AB-7377-9A8164FDC362}"/>
              </a:ext>
            </a:extLst>
          </p:cNvPr>
          <p:cNvSpPr/>
          <p:nvPr/>
        </p:nvSpPr>
        <p:spPr bwMode="auto">
          <a:xfrm>
            <a:off x="311059" y="1344941"/>
            <a:ext cx="4775823" cy="52312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DF9219-758F-0372-0188-ED9C50750D5E}"/>
              </a:ext>
            </a:extLst>
          </p:cNvPr>
          <p:cNvSpPr txBox="1"/>
          <p:nvPr/>
        </p:nvSpPr>
        <p:spPr>
          <a:xfrm>
            <a:off x="311059" y="1349760"/>
            <a:ext cx="736068" cy="27751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400" i="1">
                <a:latin typeface="+mn-lt"/>
                <a:ea typeface="+mn-ea"/>
              </a:rPr>
              <a:t>Pyth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EDBBE0-E7D4-1FBC-C23B-A9FE877C7D1C}"/>
              </a:ext>
            </a:extLst>
          </p:cNvPr>
          <p:cNvSpPr txBox="1"/>
          <p:nvPr/>
        </p:nvSpPr>
        <p:spPr>
          <a:xfrm>
            <a:off x="476881" y="1725554"/>
            <a:ext cx="1013641" cy="18250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800" i="1">
                <a:latin typeface="+mn-lt"/>
                <a:ea typeface="+mn-ea"/>
              </a:rPr>
              <a:t>Model Developmen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6C8368A-CA3C-EF6A-E252-433764E52C66}"/>
              </a:ext>
            </a:extLst>
          </p:cNvPr>
          <p:cNvSpPr/>
          <p:nvPr/>
        </p:nvSpPr>
        <p:spPr bwMode="auto">
          <a:xfrm>
            <a:off x="476881" y="1720082"/>
            <a:ext cx="4435477" cy="3430587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6AFED4A-D2CB-95E6-B565-366060E5CEB7}"/>
              </a:ext>
            </a:extLst>
          </p:cNvPr>
          <p:cNvGrpSpPr/>
          <p:nvPr/>
        </p:nvGrpSpPr>
        <p:grpSpPr>
          <a:xfrm>
            <a:off x="2228063" y="1876529"/>
            <a:ext cx="1013640" cy="287888"/>
            <a:chOff x="4207760" y="4903734"/>
            <a:chExt cx="766702" cy="49623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1566E5E-678B-0F93-1CB5-E7988EB9F95B}"/>
                </a:ext>
              </a:extLst>
            </p:cNvPr>
            <p:cNvSpPr/>
            <p:nvPr/>
          </p:nvSpPr>
          <p:spPr bwMode="auto">
            <a:xfrm>
              <a:off x="4207760" y="4903734"/>
              <a:ext cx="766702" cy="49623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CC654B2-8712-85C0-AC3A-6274EABE461B}"/>
                </a:ext>
              </a:extLst>
            </p:cNvPr>
            <p:cNvSpPr txBox="1"/>
            <p:nvPr/>
          </p:nvSpPr>
          <p:spPr>
            <a:xfrm>
              <a:off x="4227498" y="4904718"/>
              <a:ext cx="726819" cy="46723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1400">
                  <a:latin typeface="+mn-lt"/>
                  <a:ea typeface="+mn-ea"/>
                </a:rPr>
                <a:t>Clean Data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DA3E698-BCC1-260D-1762-AFB45782A076}"/>
              </a:ext>
            </a:extLst>
          </p:cNvPr>
          <p:cNvSpPr txBox="1"/>
          <p:nvPr/>
        </p:nvSpPr>
        <p:spPr>
          <a:xfrm>
            <a:off x="498119" y="5369253"/>
            <a:ext cx="922138" cy="18250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800" i="1">
                <a:latin typeface="+mn-lt"/>
                <a:ea typeface="+mn-ea"/>
              </a:rPr>
              <a:t>Model Deploy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3C0B7E1-0CF8-1A0C-177E-E137A81FE5DC}"/>
              </a:ext>
            </a:extLst>
          </p:cNvPr>
          <p:cNvSpPr/>
          <p:nvPr/>
        </p:nvSpPr>
        <p:spPr bwMode="auto">
          <a:xfrm>
            <a:off x="578728" y="2309152"/>
            <a:ext cx="4254517" cy="2709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742ECF36-2E3D-480F-611F-F7209DF0209D}"/>
              </a:ext>
            </a:extLst>
          </p:cNvPr>
          <p:cNvCxnSpPr>
            <a:cxnSpLocks/>
          </p:cNvCxnSpPr>
          <p:nvPr/>
        </p:nvCxnSpPr>
        <p:spPr bwMode="auto">
          <a:xfrm>
            <a:off x="2745010" y="4853940"/>
            <a:ext cx="0" cy="821231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C0EA79E2-FB73-B9F9-9106-D01B4B242D20}"/>
              </a:ext>
            </a:extLst>
          </p:cNvPr>
          <p:cNvSpPr/>
          <p:nvPr/>
        </p:nvSpPr>
        <p:spPr bwMode="auto">
          <a:xfrm>
            <a:off x="476881" y="5368220"/>
            <a:ext cx="4435477" cy="106403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51366DA-F26A-AD3D-68F7-94B315F274D9}"/>
              </a:ext>
            </a:extLst>
          </p:cNvPr>
          <p:cNvGrpSpPr/>
          <p:nvPr/>
        </p:nvGrpSpPr>
        <p:grpSpPr>
          <a:xfrm>
            <a:off x="637166" y="5675171"/>
            <a:ext cx="4221699" cy="623510"/>
            <a:chOff x="663940" y="4638609"/>
            <a:chExt cx="4221699" cy="62351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09197BD-2522-8511-057B-6F27DC663F9D}"/>
                </a:ext>
              </a:extLst>
            </p:cNvPr>
            <p:cNvGrpSpPr/>
            <p:nvPr/>
          </p:nvGrpSpPr>
          <p:grpSpPr>
            <a:xfrm>
              <a:off x="4118937" y="4732749"/>
              <a:ext cx="766702" cy="403716"/>
              <a:chOff x="4205715" y="4943877"/>
              <a:chExt cx="766702" cy="496238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792A6BB-43B2-E975-7940-3ED5A1E59F0D}"/>
                  </a:ext>
                </a:extLst>
              </p:cNvPr>
              <p:cNvSpPr/>
              <p:nvPr/>
            </p:nvSpPr>
            <p:spPr bwMode="auto">
              <a:xfrm>
                <a:off x="4205715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9E9B17E-F3A7-EF59-59E9-8B44C8DE7D25}"/>
                  </a:ext>
                </a:extLst>
              </p:cNvPr>
              <p:cNvSpPr txBox="1"/>
              <p:nvPr/>
            </p:nvSpPr>
            <p:spPr>
              <a:xfrm>
                <a:off x="4225453" y="4987751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Output</a:t>
                </a:r>
              </a:p>
            </p:txBody>
          </p:sp>
        </p:grp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02CD6AEF-C591-8DE0-6EFC-C6FA0F1814DE}"/>
                </a:ext>
              </a:extLst>
            </p:cNvPr>
            <p:cNvCxnSpPr/>
            <p:nvPr/>
          </p:nvCxnSpPr>
          <p:spPr bwMode="auto">
            <a:xfrm>
              <a:off x="3607728" y="4938395"/>
              <a:ext cx="52576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089DE81-85B3-F45C-5390-D03C135A945F}"/>
                </a:ext>
              </a:extLst>
            </p:cNvPr>
            <p:cNvGrpSpPr/>
            <p:nvPr/>
          </p:nvGrpSpPr>
          <p:grpSpPr>
            <a:xfrm>
              <a:off x="663940" y="4732749"/>
              <a:ext cx="766702" cy="403716"/>
              <a:chOff x="4207760" y="4943877"/>
              <a:chExt cx="766702" cy="496238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71C3F992-D0EC-F720-AC3A-010B2EEBBD32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E76C88CD-84F7-C9DD-60FC-E63D367D4D92}"/>
                  </a:ext>
                </a:extLst>
              </p:cNvPr>
              <p:cNvSpPr txBox="1"/>
              <p:nvPr/>
            </p:nvSpPr>
            <p:spPr>
              <a:xfrm>
                <a:off x="4227498" y="4986450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Input</a:t>
                </a:r>
              </a:p>
            </p:txBody>
          </p:sp>
        </p:grp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2474DD55-D885-7FEA-D872-674845913D54}"/>
                </a:ext>
              </a:extLst>
            </p:cNvPr>
            <p:cNvCxnSpPr/>
            <p:nvPr/>
          </p:nvCxnSpPr>
          <p:spPr bwMode="auto">
            <a:xfrm>
              <a:off x="1415755" y="4940797"/>
              <a:ext cx="53902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3DCD232-AA3F-9EAF-F57D-06F73E04A983}"/>
                </a:ext>
              </a:extLst>
            </p:cNvPr>
            <p:cNvGrpSpPr/>
            <p:nvPr/>
          </p:nvGrpSpPr>
          <p:grpSpPr>
            <a:xfrm>
              <a:off x="1954782" y="4638609"/>
              <a:ext cx="1653901" cy="623510"/>
              <a:chOff x="457200" y="3156973"/>
              <a:chExt cx="794002" cy="820339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16B2BB85-0686-6DAE-E2DC-BA5589804639}"/>
                  </a:ext>
                </a:extLst>
              </p:cNvPr>
              <p:cNvSpPr/>
              <p:nvPr/>
            </p:nvSpPr>
            <p:spPr bwMode="auto">
              <a:xfrm>
                <a:off x="457200" y="3156973"/>
                <a:ext cx="794002" cy="82033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CF992398-BFE5-8C4C-F53E-5EBB2E3B2581}"/>
                  </a:ext>
                </a:extLst>
              </p:cNvPr>
              <p:cNvSpPr txBox="1"/>
              <p:nvPr/>
            </p:nvSpPr>
            <p:spPr>
              <a:xfrm>
                <a:off x="462109" y="3228059"/>
                <a:ext cx="785166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400">
                    <a:latin typeface="+mn-lt"/>
                    <a:ea typeface="+mn-ea"/>
                  </a:rPr>
                  <a:t>Recommendation Model</a:t>
                </a:r>
                <a:endParaRPr kumimoji="1" lang="en-US" sz="140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0C7ABE-7F51-4787-CBE7-76824C1500CA}"/>
              </a:ext>
            </a:extLst>
          </p:cNvPr>
          <p:cNvSpPr/>
          <p:nvPr/>
        </p:nvSpPr>
        <p:spPr bwMode="auto">
          <a:xfrm>
            <a:off x="710567" y="2539558"/>
            <a:ext cx="4008741" cy="134815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3B0ECE4-FDED-2E2F-F1DA-8AF34A3260EC}"/>
              </a:ext>
            </a:extLst>
          </p:cNvPr>
          <p:cNvSpPr txBox="1"/>
          <p:nvPr/>
        </p:nvSpPr>
        <p:spPr>
          <a:xfrm>
            <a:off x="578728" y="2268096"/>
            <a:ext cx="102715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sz="1200">
                <a:latin typeface="+mn-lt"/>
                <a:ea typeface="+mn-ea"/>
              </a:rPr>
              <a:t>Sklearn</a:t>
            </a: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E4DE0798-B7E4-7FB2-619C-586E02D54A9D}"/>
              </a:ext>
            </a:extLst>
          </p:cNvPr>
          <p:cNvCxnSpPr>
            <a:cxnSpLocks/>
            <a:stCxn id="57" idx="0"/>
            <a:endCxn id="60" idx="0"/>
          </p:cNvCxnSpPr>
          <p:nvPr/>
        </p:nvCxnSpPr>
        <p:spPr bwMode="auto">
          <a:xfrm rot="5400000" flipH="1" flipV="1">
            <a:off x="2750972" y="1955103"/>
            <a:ext cx="12700" cy="2165331"/>
          </a:xfrm>
          <a:prstGeom prst="bentConnector3">
            <a:avLst>
              <a:gd name="adj1" fmla="val 1659984"/>
            </a:avLst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8DED0EF-D3FB-0D26-947C-3448AE11F07D}"/>
              </a:ext>
            </a:extLst>
          </p:cNvPr>
          <p:cNvCxnSpPr>
            <a:cxnSpLocks/>
          </p:cNvCxnSpPr>
          <p:nvPr/>
        </p:nvCxnSpPr>
        <p:spPr bwMode="auto">
          <a:xfrm>
            <a:off x="2734883" y="2164417"/>
            <a:ext cx="0" cy="668770"/>
          </a:xfrm>
          <a:prstGeom prst="line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0ADD7C4E-4A11-F5E5-445C-B89C963AB6E2}"/>
              </a:ext>
            </a:extLst>
          </p:cNvPr>
          <p:cNvSpPr txBox="1"/>
          <p:nvPr/>
        </p:nvSpPr>
        <p:spPr>
          <a:xfrm>
            <a:off x="3353182" y="3037768"/>
            <a:ext cx="960912" cy="4672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36000" tIns="36000" rIns="36000" bIns="0" rtlCol="0">
            <a:spAutoFit/>
          </a:bodyPr>
          <a:lstStyle/>
          <a:p>
            <a:pPr algn="ctr"/>
            <a:r>
              <a:rPr kumimoji="1" lang="en-US" sz="1400">
                <a:latin typeface="+mn-lt"/>
                <a:ea typeface="+mn-ea"/>
              </a:rPr>
              <a:t>Testing</a:t>
            </a:r>
          </a:p>
          <a:p>
            <a:pPr algn="ctr"/>
            <a:r>
              <a:rPr lang="en-US" sz="1400">
                <a:latin typeface="+mn-lt"/>
                <a:ea typeface="+mn-ea"/>
              </a:rPr>
              <a:t>Data</a:t>
            </a:r>
            <a:endParaRPr kumimoji="1" lang="en-US" sz="1400">
              <a:latin typeface="+mn-lt"/>
              <a:ea typeface="+mn-ea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51D3BC-D8AA-67C1-5561-59B9745CD3E2}"/>
              </a:ext>
            </a:extLst>
          </p:cNvPr>
          <p:cNvSpPr txBox="1"/>
          <p:nvPr/>
        </p:nvSpPr>
        <p:spPr>
          <a:xfrm>
            <a:off x="1161487" y="3037768"/>
            <a:ext cx="1013640" cy="4672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36000" tIns="36000" rIns="36000" bIns="0" rtlCol="0">
            <a:spAutoFit/>
          </a:bodyPr>
          <a:lstStyle/>
          <a:p>
            <a:pPr algn="ctr"/>
            <a:r>
              <a:rPr kumimoji="1" lang="en-US" sz="1400">
                <a:latin typeface="+mn-lt"/>
                <a:ea typeface="+mn-ea"/>
              </a:rPr>
              <a:t>Training </a:t>
            </a:r>
          </a:p>
          <a:p>
            <a:pPr algn="ctr"/>
            <a:r>
              <a:rPr lang="en-US" sz="1400">
                <a:latin typeface="+mn-lt"/>
                <a:ea typeface="+mn-ea"/>
              </a:rPr>
              <a:t>Data</a:t>
            </a:r>
            <a:r>
              <a:rPr kumimoji="1" lang="en-US" sz="1400">
                <a:latin typeface="+mn-lt"/>
                <a:ea typeface="+mn-ea"/>
              </a:rPr>
              <a:t>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331094A-063A-86D2-DEDA-ED95889D7695}"/>
              </a:ext>
            </a:extLst>
          </p:cNvPr>
          <p:cNvGrpSpPr/>
          <p:nvPr/>
        </p:nvGrpSpPr>
        <p:grpSpPr>
          <a:xfrm>
            <a:off x="1648298" y="3510517"/>
            <a:ext cx="2185343" cy="783685"/>
            <a:chOff x="1648298" y="3371755"/>
            <a:chExt cx="2185343" cy="783685"/>
          </a:xfrm>
        </p:grpSpPr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2BAC6E2-3069-723B-65E4-DAB79C6A16EA}"/>
                </a:ext>
              </a:extLst>
            </p:cNvPr>
            <p:cNvCxnSpPr/>
            <p:nvPr/>
          </p:nvCxnSpPr>
          <p:spPr bwMode="auto">
            <a:xfrm>
              <a:off x="2758169" y="3596640"/>
              <a:ext cx="0" cy="55880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66DB3596-D345-F1E8-A7C4-72C2A9DE2A7F}"/>
                </a:ext>
              </a:extLst>
            </p:cNvPr>
            <p:cNvCxnSpPr/>
            <p:nvPr/>
          </p:nvCxnSpPr>
          <p:spPr bwMode="auto">
            <a:xfrm rot="16200000" flipH="1">
              <a:off x="2734620" y="2285433"/>
              <a:ext cx="12700" cy="2185343"/>
            </a:xfrm>
            <a:prstGeom prst="bentConnector3">
              <a:avLst>
                <a:gd name="adj1" fmla="val 1800000"/>
              </a:avLst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AFC66DAC-69FE-FCB4-8C1C-DE6535E72227}"/>
              </a:ext>
            </a:extLst>
          </p:cNvPr>
          <p:cNvSpPr txBox="1"/>
          <p:nvPr/>
        </p:nvSpPr>
        <p:spPr>
          <a:xfrm>
            <a:off x="686047" y="2503604"/>
            <a:ext cx="102715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sz="1200" err="1">
                <a:latin typeface="+mn-lt"/>
                <a:ea typeface="+mn-ea"/>
              </a:rPr>
              <a:t>TrainTest</a:t>
            </a:r>
            <a:r>
              <a:rPr lang="en-US" sz="1200">
                <a:latin typeface="+mn-lt"/>
                <a:ea typeface="+mn-ea"/>
              </a:rPr>
              <a:t> Spli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2B1EED0-ACBA-2D8B-61A1-60F6880D838D}"/>
              </a:ext>
            </a:extLst>
          </p:cNvPr>
          <p:cNvGrpSpPr/>
          <p:nvPr/>
        </p:nvGrpSpPr>
        <p:grpSpPr>
          <a:xfrm>
            <a:off x="1755063" y="4304613"/>
            <a:ext cx="1985906" cy="528506"/>
            <a:chOff x="4128891" y="3724068"/>
            <a:chExt cx="698605" cy="323895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AE78C83-1DB7-4D35-2D0D-894F9C37D21B}"/>
                </a:ext>
              </a:extLst>
            </p:cNvPr>
            <p:cNvSpPr/>
            <p:nvPr/>
          </p:nvSpPr>
          <p:spPr bwMode="auto">
            <a:xfrm>
              <a:off x="4128891" y="3724068"/>
              <a:ext cx="698605" cy="32389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CAA0CE4-58F6-D22A-C62A-2ED525AEB2F7}"/>
                </a:ext>
              </a:extLst>
            </p:cNvPr>
            <p:cNvSpPr txBox="1"/>
            <p:nvPr/>
          </p:nvSpPr>
          <p:spPr>
            <a:xfrm>
              <a:off x="4137433" y="3747347"/>
              <a:ext cx="688664" cy="248623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tx2"/>
                  </a:solidFill>
                  <a:latin typeface="+mn-lt"/>
                  <a:ea typeface="+mn-ea"/>
                </a:rPr>
                <a:t>K-Nearest Neighbors</a:t>
              </a:r>
            </a:p>
            <a:p>
              <a:pPr algn="ctr"/>
              <a:r>
                <a:rPr lang="en-US" sz="1200">
                  <a:solidFill>
                    <a:schemeClr val="tx2"/>
                  </a:solidFill>
                  <a:latin typeface="+mn-lt"/>
                  <a:ea typeface="+mn-ea"/>
                </a:rPr>
                <a:t>metric: Euclidean similar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24592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reation: Recommendation Model (NN)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E1D9C3A-EA89-E00F-2215-08298B0AEED7}"/>
              </a:ext>
            </a:extLst>
          </p:cNvPr>
          <p:cNvGrpSpPr/>
          <p:nvPr/>
        </p:nvGrpSpPr>
        <p:grpSpPr>
          <a:xfrm>
            <a:off x="311059" y="1586053"/>
            <a:ext cx="4775825" cy="4409218"/>
            <a:chOff x="2578797" y="2982189"/>
            <a:chExt cx="2617357" cy="170500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1A1BABD9-6395-3D6C-9F00-AA0356ECBFE5}"/>
                </a:ext>
              </a:extLst>
            </p:cNvPr>
            <p:cNvSpPr/>
            <p:nvPr/>
          </p:nvSpPr>
          <p:spPr bwMode="auto">
            <a:xfrm>
              <a:off x="2578798" y="2986437"/>
              <a:ext cx="2617356" cy="17007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1CFA37B-DB25-5AB7-49AE-98D2F9566E38}"/>
                </a:ext>
              </a:extLst>
            </p:cNvPr>
            <p:cNvSpPr txBox="1"/>
            <p:nvPr/>
          </p:nvSpPr>
          <p:spPr>
            <a:xfrm>
              <a:off x="2578797" y="2982189"/>
              <a:ext cx="403397" cy="10078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400" i="1">
                  <a:latin typeface="+mn-lt"/>
                  <a:ea typeface="+mn-ea"/>
                </a:rPr>
                <a:t>Pytho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E40E30E-3402-27FC-0FC3-4472A794ECD1}"/>
                </a:ext>
              </a:extLst>
            </p:cNvPr>
            <p:cNvSpPr txBox="1"/>
            <p:nvPr/>
          </p:nvSpPr>
          <p:spPr>
            <a:xfrm>
              <a:off x="2681314" y="3134111"/>
              <a:ext cx="555519" cy="6627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800" i="1">
                  <a:latin typeface="+mn-lt"/>
                  <a:ea typeface="+mn-ea"/>
                </a:rPr>
                <a:t>Model Development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86D0160-D75A-9325-2E67-A8460EBE39F6}"/>
                </a:ext>
              </a:extLst>
            </p:cNvPr>
            <p:cNvSpPr txBox="1"/>
            <p:nvPr/>
          </p:nvSpPr>
          <p:spPr>
            <a:xfrm>
              <a:off x="2681314" y="4106377"/>
              <a:ext cx="505371" cy="6627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800" i="1">
                  <a:latin typeface="+mn-lt"/>
                  <a:ea typeface="+mn-ea"/>
                </a:rPr>
                <a:t>Model Deployment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43EA5CD-42F6-0801-651E-401582094CBF}"/>
              </a:ext>
            </a:extLst>
          </p:cNvPr>
          <p:cNvGrpSpPr/>
          <p:nvPr/>
        </p:nvGrpSpPr>
        <p:grpSpPr>
          <a:xfrm>
            <a:off x="2354592" y="2150380"/>
            <a:ext cx="766702" cy="496238"/>
            <a:chOff x="4207760" y="4903734"/>
            <a:chExt cx="766702" cy="496238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301A905-9CCC-9AC8-4D1F-962A409DDE99}"/>
                </a:ext>
              </a:extLst>
            </p:cNvPr>
            <p:cNvSpPr/>
            <p:nvPr/>
          </p:nvSpPr>
          <p:spPr bwMode="auto">
            <a:xfrm>
              <a:off x="4207760" y="4903734"/>
              <a:ext cx="766702" cy="49623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1F1DE77-45EC-910F-FA81-8F886FEBA9C4}"/>
                </a:ext>
              </a:extLst>
            </p:cNvPr>
            <p:cNvSpPr txBox="1"/>
            <p:nvPr/>
          </p:nvSpPr>
          <p:spPr>
            <a:xfrm>
              <a:off x="4227498" y="4904714"/>
              <a:ext cx="726819" cy="46723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1400">
                  <a:latin typeface="+mn-lt"/>
                  <a:ea typeface="+mn-ea"/>
                </a:rPr>
                <a:t>Clean Data</a:t>
              </a:r>
            </a:p>
          </p:txBody>
        </p:sp>
      </p:grp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02F9337-0D11-863F-1287-015E6AF32346}"/>
              </a:ext>
            </a:extLst>
          </p:cNvPr>
          <p:cNvCxnSpPr>
            <a:cxnSpLocks/>
          </p:cNvCxnSpPr>
          <p:nvPr/>
        </p:nvCxnSpPr>
        <p:spPr bwMode="auto">
          <a:xfrm>
            <a:off x="2737943" y="2646618"/>
            <a:ext cx="0" cy="494093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383CBC5-B21D-9EBC-1EE6-D715A945DDDC}"/>
              </a:ext>
            </a:extLst>
          </p:cNvPr>
          <p:cNvGrpSpPr/>
          <p:nvPr/>
        </p:nvGrpSpPr>
        <p:grpSpPr>
          <a:xfrm>
            <a:off x="1620321" y="3145611"/>
            <a:ext cx="2257088" cy="1014350"/>
            <a:chOff x="457200" y="3147379"/>
            <a:chExt cx="794002" cy="621644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749FBA3-56A9-A2D9-39AE-762A267D91B9}"/>
                </a:ext>
              </a:extLst>
            </p:cNvPr>
            <p:cNvSpPr/>
            <p:nvPr/>
          </p:nvSpPr>
          <p:spPr bwMode="auto">
            <a:xfrm>
              <a:off x="457200" y="3156973"/>
              <a:ext cx="794002" cy="61205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9D5CA23A-ECAD-2151-9E2F-C7847612CFB1}"/>
                </a:ext>
              </a:extLst>
            </p:cNvPr>
            <p:cNvSpPr txBox="1"/>
            <p:nvPr/>
          </p:nvSpPr>
          <p:spPr>
            <a:xfrm>
              <a:off x="457200" y="3147379"/>
              <a:ext cx="360950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400">
                  <a:latin typeface="+mn-lt"/>
                  <a:ea typeface="+mn-ea"/>
                </a:rPr>
                <a:t>Sklearn</a:t>
              </a:r>
              <a:endParaRPr kumimoji="1" lang="en-US" sz="1400">
                <a:latin typeface="+mn-lt"/>
                <a:ea typeface="+mn-ea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BD93B3B7-A65B-8533-E92A-05A885C0FDED}"/>
                </a:ext>
              </a:extLst>
            </p:cNvPr>
            <p:cNvGrpSpPr/>
            <p:nvPr/>
          </p:nvGrpSpPr>
          <p:grpSpPr>
            <a:xfrm>
              <a:off x="505956" y="3367744"/>
              <a:ext cx="698605" cy="323895"/>
              <a:chOff x="4128891" y="3724068"/>
              <a:chExt cx="698605" cy="323895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11DCEBA1-8932-EDB5-4FDB-33D262D68D64}"/>
                  </a:ext>
                </a:extLst>
              </p:cNvPr>
              <p:cNvSpPr/>
              <p:nvPr/>
            </p:nvSpPr>
            <p:spPr bwMode="auto">
              <a:xfrm>
                <a:off x="4128891" y="3724068"/>
                <a:ext cx="698605" cy="32389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8D7BC75-5B08-7B21-CD55-EC33ACB3FFEE}"/>
                  </a:ext>
                </a:extLst>
              </p:cNvPr>
              <p:cNvSpPr txBox="1"/>
              <p:nvPr/>
            </p:nvSpPr>
            <p:spPr>
              <a:xfrm>
                <a:off x="4137433" y="3747347"/>
                <a:ext cx="688664" cy="29290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schemeClr val="tx2"/>
                    </a:solidFill>
                    <a:latin typeface="+mn-lt"/>
                    <a:ea typeface="+mn-ea"/>
                  </a:rPr>
                  <a:t>Nearest Neighbours</a:t>
                </a:r>
              </a:p>
              <a:p>
                <a:pPr algn="ctr"/>
                <a:r>
                  <a:rPr kumimoji="1" lang="en-US" sz="1200">
                    <a:solidFill>
                      <a:schemeClr val="tx2"/>
                    </a:solidFill>
                    <a:latin typeface="+mn-lt"/>
                    <a:ea typeface="+mn-ea"/>
                  </a:rPr>
                  <a:t>metric: cosine similarity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A8754-1D17-CAE0-CE0A-967A1EB9AFAF}"/>
              </a:ext>
            </a:extLst>
          </p:cNvPr>
          <p:cNvSpPr txBox="1"/>
          <p:nvPr/>
        </p:nvSpPr>
        <p:spPr>
          <a:xfrm>
            <a:off x="5846111" y="3210110"/>
            <a:ext cx="3713642" cy="682682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Games that are available on multiple platforms receive more than ten results for recommend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0C97D-C254-5AED-AD73-3CEA2327AA91}"/>
              </a:ext>
            </a:extLst>
          </p:cNvPr>
          <p:cNvSpPr/>
          <p:nvPr/>
        </p:nvSpPr>
        <p:spPr bwMode="auto">
          <a:xfrm>
            <a:off x="5295933" y="3228622"/>
            <a:ext cx="473247" cy="104483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8D58D-1E37-5616-F4E4-A3A1C455860A}"/>
              </a:ext>
            </a:extLst>
          </p:cNvPr>
          <p:cNvSpPr/>
          <p:nvPr/>
        </p:nvSpPr>
        <p:spPr bwMode="auto">
          <a:xfrm>
            <a:off x="5303820" y="4475178"/>
            <a:ext cx="473247" cy="158334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B2C8EC-7BB0-6BE4-5058-F8275E640070}"/>
              </a:ext>
            </a:extLst>
          </p:cNvPr>
          <p:cNvCxnSpPr>
            <a:cxnSpLocks/>
          </p:cNvCxnSpPr>
          <p:nvPr/>
        </p:nvCxnSpPr>
        <p:spPr bwMode="auto">
          <a:xfrm>
            <a:off x="5303820" y="4376904"/>
            <a:ext cx="4282300" cy="1605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67C3EA3-64D3-8A95-6738-7A356990E4BB}"/>
              </a:ext>
            </a:extLst>
          </p:cNvPr>
          <p:cNvSpPr txBox="1"/>
          <p:nvPr/>
        </p:nvSpPr>
        <p:spPr>
          <a:xfrm>
            <a:off x="5846109" y="4486804"/>
            <a:ext cx="3775545" cy="132901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Added an optional parameter platform to limit the resu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For multiple platforms: Merge all outcomes, arrange them in ascending order, and select the first ten with the least distance calcul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86B7E6-129E-B1E4-6FBC-909C171DD2BD}"/>
              </a:ext>
            </a:extLst>
          </p:cNvPr>
          <p:cNvSpPr/>
          <p:nvPr/>
        </p:nvSpPr>
        <p:spPr bwMode="auto">
          <a:xfrm>
            <a:off x="5295933" y="1470284"/>
            <a:ext cx="473247" cy="155892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od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3FE64F-9467-00A4-2DCB-DF4196653732}"/>
              </a:ext>
            </a:extLst>
          </p:cNvPr>
          <p:cNvCxnSpPr>
            <a:cxnSpLocks/>
          </p:cNvCxnSpPr>
          <p:nvPr/>
        </p:nvCxnSpPr>
        <p:spPr bwMode="auto">
          <a:xfrm>
            <a:off x="5303820" y="3119615"/>
            <a:ext cx="4282300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F541673-A766-D3D7-A666-A4C68D414F42}"/>
              </a:ext>
            </a:extLst>
          </p:cNvPr>
          <p:cNvSpPr txBox="1"/>
          <p:nvPr/>
        </p:nvSpPr>
        <p:spPr>
          <a:xfrm>
            <a:off x="5846111" y="1484756"/>
            <a:ext cx="3713642" cy="154445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earest Neighbor (NN) from Python scikit-learn is used to build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N is an unsupervised machine learning algorithm that uses distance computation to calculate data point’s simila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Cosine similarity is utilized for distance metric of NN</a:t>
            </a: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283495" y="1035293"/>
            <a:ext cx="4302624" cy="318924"/>
            <a:chOff x="1016089" y="1463949"/>
            <a:chExt cx="2016000" cy="318924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479" y="1463949"/>
              <a:ext cx="335238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284345" y="1035293"/>
            <a:ext cx="4802539" cy="318924"/>
            <a:chOff x="1016089" y="1463949"/>
            <a:chExt cx="2016000" cy="318924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594" y="1463949"/>
              <a:ext cx="75701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Model Architecture</a:t>
              </a:r>
              <a:endParaRPr kumimoji="1" lang="ja-JP" altLang="en-US" sz="1600" b="0" i="0" u="non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2AC17DA-70B9-699E-80BB-BEBD087F89BB}"/>
              </a:ext>
            </a:extLst>
          </p:cNvPr>
          <p:cNvCxnSpPr/>
          <p:nvPr/>
        </p:nvCxnSpPr>
        <p:spPr bwMode="auto">
          <a:xfrm>
            <a:off x="2737739" y="4171684"/>
            <a:ext cx="0" cy="860985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0B8D283-F2D0-F051-5CA1-508CFF1ED3C8}"/>
              </a:ext>
            </a:extLst>
          </p:cNvPr>
          <p:cNvSpPr/>
          <p:nvPr/>
        </p:nvSpPr>
        <p:spPr bwMode="auto">
          <a:xfrm>
            <a:off x="476881" y="1975543"/>
            <a:ext cx="4402017" cy="2320731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C4EDFAB-2324-EFA4-C46B-BB5D80C56A9C}"/>
              </a:ext>
            </a:extLst>
          </p:cNvPr>
          <p:cNvSpPr/>
          <p:nvPr/>
        </p:nvSpPr>
        <p:spPr bwMode="auto">
          <a:xfrm>
            <a:off x="476881" y="4490900"/>
            <a:ext cx="4402017" cy="131264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002708E-0DC1-E81F-AC65-C704796613EC}"/>
              </a:ext>
            </a:extLst>
          </p:cNvPr>
          <p:cNvGrpSpPr/>
          <p:nvPr/>
        </p:nvGrpSpPr>
        <p:grpSpPr>
          <a:xfrm>
            <a:off x="587100" y="5054441"/>
            <a:ext cx="4223744" cy="623510"/>
            <a:chOff x="663940" y="4638609"/>
            <a:chExt cx="4223744" cy="62351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804B4BF-06A3-F7EA-CA5E-9248FECBDB34}"/>
                </a:ext>
              </a:extLst>
            </p:cNvPr>
            <p:cNvGrpSpPr/>
            <p:nvPr/>
          </p:nvGrpSpPr>
          <p:grpSpPr>
            <a:xfrm>
              <a:off x="4120982" y="4732749"/>
              <a:ext cx="766702" cy="403716"/>
              <a:chOff x="4207760" y="4943877"/>
              <a:chExt cx="766702" cy="496238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D1998D9-39D8-74B3-2CB5-1043D636BE99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EA199FB-BF64-7F7E-E704-83F86E1A7D15}"/>
                  </a:ext>
                </a:extLst>
              </p:cNvPr>
              <p:cNvSpPr txBox="1"/>
              <p:nvPr/>
            </p:nvSpPr>
            <p:spPr>
              <a:xfrm>
                <a:off x="4227498" y="4987751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Output</a:t>
                </a:r>
              </a:p>
            </p:txBody>
          </p:sp>
        </p:grp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A3DA65BA-DA06-2846-C79C-975B58F34167}"/>
                </a:ext>
              </a:extLst>
            </p:cNvPr>
            <p:cNvCxnSpPr/>
            <p:nvPr/>
          </p:nvCxnSpPr>
          <p:spPr bwMode="auto">
            <a:xfrm>
              <a:off x="3607728" y="4938395"/>
              <a:ext cx="52576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2CB2490-7920-CECC-7F80-EA9F07B88123}"/>
                </a:ext>
              </a:extLst>
            </p:cNvPr>
            <p:cNvGrpSpPr/>
            <p:nvPr/>
          </p:nvGrpSpPr>
          <p:grpSpPr>
            <a:xfrm>
              <a:off x="663940" y="4732749"/>
              <a:ext cx="766702" cy="403716"/>
              <a:chOff x="4207760" y="4943877"/>
              <a:chExt cx="766702" cy="496238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8947F3C5-E8C0-AE98-8A0E-2ABE3CDDEC26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910D3F3-FB8A-C2FD-2978-90C9C3767CAE}"/>
                  </a:ext>
                </a:extLst>
              </p:cNvPr>
              <p:cNvSpPr txBox="1"/>
              <p:nvPr/>
            </p:nvSpPr>
            <p:spPr>
              <a:xfrm>
                <a:off x="4227498" y="4986450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Input</a:t>
                </a:r>
              </a:p>
            </p:txBody>
          </p:sp>
        </p:grp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4271311E-FFE6-A05E-F3E4-230BE0F89088}"/>
                </a:ext>
              </a:extLst>
            </p:cNvPr>
            <p:cNvCxnSpPr/>
            <p:nvPr/>
          </p:nvCxnSpPr>
          <p:spPr bwMode="auto">
            <a:xfrm>
              <a:off x="1415755" y="4940797"/>
              <a:ext cx="53902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7AFB07A-3821-144B-543E-BDD376035F87}"/>
                </a:ext>
              </a:extLst>
            </p:cNvPr>
            <p:cNvGrpSpPr/>
            <p:nvPr/>
          </p:nvGrpSpPr>
          <p:grpSpPr>
            <a:xfrm>
              <a:off x="1954782" y="4638609"/>
              <a:ext cx="1653901" cy="623510"/>
              <a:chOff x="457200" y="3156973"/>
              <a:chExt cx="794002" cy="820339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9CAFEB9-A0B6-7277-E249-9ACC85A94229}"/>
                  </a:ext>
                </a:extLst>
              </p:cNvPr>
              <p:cNvSpPr/>
              <p:nvPr/>
            </p:nvSpPr>
            <p:spPr bwMode="auto">
              <a:xfrm>
                <a:off x="457200" y="3156973"/>
                <a:ext cx="794002" cy="82033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A2F5F5B-5997-7030-7DE5-399B699D86C6}"/>
                  </a:ext>
                </a:extLst>
              </p:cNvPr>
              <p:cNvSpPr txBox="1"/>
              <p:nvPr/>
            </p:nvSpPr>
            <p:spPr>
              <a:xfrm>
                <a:off x="462109" y="3228059"/>
                <a:ext cx="785166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400">
                    <a:latin typeface="+mn-lt"/>
                    <a:ea typeface="+mn-ea"/>
                  </a:rPr>
                  <a:t>Recommendation Model</a:t>
                </a:r>
                <a:endParaRPr kumimoji="1" lang="en-US" sz="1400">
                  <a:latin typeface="+mn-lt"/>
                  <a:ea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5445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Evaluation (KNN and NN Comparison)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668969"/>
            <a:ext cx="4912832" cy="2438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 </a:t>
            </a:r>
            <a:endParaRPr lang="ja-JP" altLang="en-US" sz="800">
              <a:cs typeface="Arial" panose="020B0604020202020204" pitchFamily="34" charset="0"/>
            </a:endParaRP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349852" y="847077"/>
            <a:ext cx="3945532" cy="503590"/>
            <a:chOff x="1016089" y="1445365"/>
            <a:chExt cx="2016000" cy="337508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287" y="1445365"/>
              <a:ext cx="995621" cy="337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b="1">
                  <a:solidFill>
                    <a:srgbClr val="4A4A4A"/>
                  </a:solidFill>
                  <a:latin typeface="+mj-lt"/>
                  <a:ea typeface="Meiryo UI"/>
                </a:rPr>
                <a:t>Nearest Neighbo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(Unsupervised Algorithm</a:t>
              </a:r>
              <a:r>
                <a:rPr lang="en-US" altLang="ja-JP" sz="1200" b="1">
                  <a:solidFill>
                    <a:srgbClr val="4A4A4A"/>
                  </a:solidFill>
                  <a:latin typeface="+mj-lt"/>
                  <a:ea typeface="Meiryo UI"/>
                </a:rPr>
                <a:t>)</a:t>
              </a:r>
              <a:endPara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1185818" y="846612"/>
            <a:ext cx="3945533" cy="503590"/>
            <a:chOff x="1016089" y="1445365"/>
            <a:chExt cx="2016000" cy="337508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08" y="1445365"/>
              <a:ext cx="1070188" cy="337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K-Nearest Neighbo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200" b="1">
                  <a:solidFill>
                    <a:srgbClr val="4A4A4A"/>
                  </a:solidFill>
                  <a:latin typeface="+mj-lt"/>
                  <a:ea typeface="Meiryo UI"/>
                </a:rPr>
                <a:t>(Supervised Algorithm)</a:t>
              </a:r>
              <a:endParaRPr kumimoji="1" lang="ja-JP" altLang="en-US" sz="1200" b="1" i="0" u="non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41D98DD2-69AF-FC0F-EE31-11EF2A104D2B}"/>
              </a:ext>
            </a:extLst>
          </p:cNvPr>
          <p:cNvSpPr/>
          <p:nvPr/>
        </p:nvSpPr>
        <p:spPr bwMode="auto">
          <a:xfrm>
            <a:off x="580568" y="2932047"/>
            <a:ext cx="470108" cy="131365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User 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1A4B7B-4CCB-2720-B21D-0565F1CC2DB8}"/>
              </a:ext>
            </a:extLst>
          </p:cNvPr>
          <p:cNvSpPr/>
          <p:nvPr/>
        </p:nvSpPr>
        <p:spPr bwMode="auto">
          <a:xfrm>
            <a:off x="580568" y="1479177"/>
            <a:ext cx="470108" cy="118763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Usag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1EDBD6-645F-FB53-93D5-D93B5FCA9444}"/>
              </a:ext>
            </a:extLst>
          </p:cNvPr>
          <p:cNvCxnSpPr>
            <a:cxnSpLocks/>
          </p:cNvCxnSpPr>
          <p:nvPr/>
        </p:nvCxnSpPr>
        <p:spPr bwMode="auto">
          <a:xfrm flipH="1">
            <a:off x="580568" y="2792875"/>
            <a:ext cx="8735136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4246A2D-64B5-0CDD-D8BC-FDB7DB932EFE}"/>
              </a:ext>
            </a:extLst>
          </p:cNvPr>
          <p:cNvSpPr txBox="1"/>
          <p:nvPr/>
        </p:nvSpPr>
        <p:spPr>
          <a:xfrm>
            <a:off x="1179575" y="2947902"/>
            <a:ext cx="385116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Input is the set of features that was used in the model training to properly classify the game and get recommend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A122DC-37D8-095E-1CDC-E47346F1EDE7}"/>
              </a:ext>
            </a:extLst>
          </p:cNvPr>
          <p:cNvSpPr txBox="1"/>
          <p:nvPr/>
        </p:nvSpPr>
        <p:spPr>
          <a:xfrm>
            <a:off x="5349852" y="2928142"/>
            <a:ext cx="394553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Input is the game title and platform </a:t>
            </a:r>
            <a:r>
              <a:rPr lang="en-US" i="1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(optional)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– the recommended games have already been pre-calculated for each game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D07DD2-9DED-E138-AC29-E19972BE20A0}"/>
              </a:ext>
            </a:extLst>
          </p:cNvPr>
          <p:cNvSpPr txBox="1"/>
          <p:nvPr/>
        </p:nvSpPr>
        <p:spPr>
          <a:xfrm>
            <a:off x="1183560" y="1505559"/>
            <a:ext cx="39113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Better choice if the dataset is large and complex, and the accuracy of the recommendations is cruc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F0538F-B7A6-CEAF-13A6-4A460028DB39}"/>
              </a:ext>
            </a:extLst>
          </p:cNvPr>
          <p:cNvSpPr txBox="1"/>
          <p:nvPr/>
        </p:nvSpPr>
        <p:spPr>
          <a:xfrm>
            <a:off x="5349852" y="1489470"/>
            <a:ext cx="394553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More suitable for a smaller and simpler dataset where a lightweight algorithm is prefer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o training is require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A721B3-038B-C041-2C26-68C07795009F}"/>
              </a:ext>
            </a:extLst>
          </p:cNvPr>
          <p:cNvGrpSpPr/>
          <p:nvPr/>
        </p:nvGrpSpPr>
        <p:grpSpPr>
          <a:xfrm>
            <a:off x="580136" y="4578520"/>
            <a:ext cx="8852621" cy="1974439"/>
            <a:chOff x="599440" y="4649644"/>
            <a:chExt cx="8735137" cy="143619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A001202-3B3F-5C5C-DBC0-974A06BC891A}"/>
                </a:ext>
              </a:extLst>
            </p:cNvPr>
            <p:cNvSpPr/>
            <p:nvPr/>
          </p:nvSpPr>
          <p:spPr bwMode="auto">
            <a:xfrm>
              <a:off x="599440" y="4649644"/>
              <a:ext cx="8735137" cy="1436195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B9A024A-9A36-8CF6-43A2-5D44C0027D3F}"/>
                </a:ext>
              </a:extLst>
            </p:cNvPr>
            <p:cNvSpPr txBox="1"/>
            <p:nvPr/>
          </p:nvSpPr>
          <p:spPr>
            <a:xfrm>
              <a:off x="772160" y="4723231"/>
              <a:ext cx="8422640" cy="11417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ja-JP" b="1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nclusion:</a:t>
              </a:r>
            </a:p>
            <a:p>
              <a:pPr marL="285750" indent="-2857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altLang="ja-JP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Nearest Neighbor algorithm was identified as a </a:t>
              </a:r>
              <a:r>
                <a:rPr lang="en-US" altLang="ja-JP" b="1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ore appropriate choice </a:t>
              </a:r>
              <a:r>
                <a:rPr lang="en-US" altLang="ja-JP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or the recommendation model aimed at providing video game suggestions based on the title and platform </a:t>
              </a:r>
              <a:r>
                <a:rPr lang="en-US" altLang="ja-JP" i="1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optional</a:t>
              </a:r>
              <a:r>
                <a:rPr lang="en-US" altLang="ja-JP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) as input.</a:t>
              </a:r>
            </a:p>
            <a:p>
              <a:pPr marL="285750" indent="-2857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altLang="ja-JP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he </a:t>
              </a:r>
              <a:r>
                <a:rPr lang="en-US" altLang="ja-JP" b="1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implicity and straightforwardness </a:t>
              </a:r>
              <a:r>
                <a:rPr lang="en-US" altLang="ja-JP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f the input features were the determining factors, making a full-fledged classification algorithm unnecessary.</a:t>
              </a:r>
              <a:endParaRPr lang="ja-JP" altLang="en-US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8281D10-0321-8350-6E42-C0AA9A2DE1CB}"/>
              </a:ext>
            </a:extLst>
          </p:cNvPr>
          <p:cNvCxnSpPr>
            <a:cxnSpLocks/>
          </p:cNvCxnSpPr>
          <p:nvPr/>
        </p:nvCxnSpPr>
        <p:spPr bwMode="auto">
          <a:xfrm flipH="1">
            <a:off x="590728" y="4377835"/>
            <a:ext cx="8735136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81F5D65-5C52-FF4F-299B-A4DBB47A9152}"/>
              </a:ext>
            </a:extLst>
          </p:cNvPr>
          <p:cNvSpPr/>
          <p:nvPr/>
        </p:nvSpPr>
        <p:spPr bwMode="auto">
          <a:xfrm>
            <a:off x="5227842" y="742154"/>
            <a:ext cx="4204915" cy="3743332"/>
          </a:xfrm>
          <a:prstGeom prst="rect">
            <a:avLst/>
          </a:prstGeom>
          <a:noFill/>
          <a:ln w="19050" cap="flat" cmpd="sng" algn="ctr">
            <a:solidFill>
              <a:srgbClr val="33CC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+mn-lt"/>
              <a:ea typeface="+mn-ea"/>
            </a:endParaRPr>
          </a:p>
        </p:txBody>
      </p:sp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C9F94FD8-7F77-C7A2-38A2-6278D573B4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34097" y="843887"/>
            <a:ext cx="441399" cy="44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8561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0B36639-A1FB-DDFE-3EA5-17C260C090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973" b="1806"/>
          <a:stretch/>
        </p:blipFill>
        <p:spPr>
          <a:xfrm>
            <a:off x="284574" y="991910"/>
            <a:ext cx="9336853" cy="53174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40285796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D78FBF2-7B08-E2C1-7C6A-002062DDC084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1009" b="1711"/>
          <a:stretch/>
        </p:blipFill>
        <p:spPr>
          <a:xfrm>
            <a:off x="277462" y="976995"/>
            <a:ext cx="9357266" cy="53201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17392705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 picture containing text, screenshot, electronics, different&#10;&#10;Description automatically generated">
            <a:extLst>
              <a:ext uri="{FF2B5EF4-FFF2-40B4-BE49-F238E27FC236}">
                <a16:creationId xmlns:a16="http://schemas.microsoft.com/office/drawing/2014/main" id="{29AD41B9-C968-BDFA-23FA-59020ADB99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888" b="1233"/>
          <a:stretch/>
        </p:blipFill>
        <p:spPr>
          <a:xfrm>
            <a:off x="264160" y="975360"/>
            <a:ext cx="9357266" cy="53218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810073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AEFB0-D429-0836-F9FE-61F429611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ase Background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F7AAA0-6D2F-909C-1E50-4F93904827DA}"/>
              </a:ext>
            </a:extLst>
          </p:cNvPr>
          <p:cNvSpPr txBox="1"/>
          <p:nvPr/>
        </p:nvSpPr>
        <p:spPr>
          <a:xfrm>
            <a:off x="457201" y="937549"/>
            <a:ext cx="8991599" cy="496077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Client wants to venture into the Video Game Industry and has requested our assistance in understanding the market, and at the same time to develop a recommendation system for video game titles based on user preference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ataset containing information of video game such as sales (in units), genre, release year, platform, critic score and user scores, is accessible to the public on </a:t>
            </a:r>
            <a:r>
              <a:rPr lang="en-US" err="1">
                <a:solidFill>
                  <a:srgbClr val="0070C0"/>
                </a:solidFill>
                <a:latin typeface="+mn-lt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GChartz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</a:rPr>
              <a:t>, </a:t>
            </a:r>
            <a:r>
              <a:rPr lang="en-US">
                <a:latin typeface="+mn-lt"/>
                <a:ea typeface="+mn-ea"/>
              </a:rPr>
              <a:t>which is used for cross-validating the data collected from Kaggle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eliverables to the client: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Recommendation Model</a:t>
            </a:r>
            <a:r>
              <a:rPr lang="en-US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 </a:t>
            </a:r>
            <a:r>
              <a:rPr lang="en-US">
                <a:latin typeface="+mn-lt"/>
                <a:ea typeface="+mn-ea"/>
              </a:rPr>
              <a:t>that provides suggestions for the video game titles to users based on the game title and platform </a:t>
            </a:r>
            <a:r>
              <a:rPr lang="en-US" i="1">
                <a:latin typeface="+mn-lt"/>
                <a:ea typeface="+mn-ea"/>
              </a:rPr>
              <a:t>(optional)</a:t>
            </a:r>
            <a:r>
              <a:rPr lang="en-US">
                <a:latin typeface="+mn-lt"/>
                <a:ea typeface="+mn-ea"/>
              </a:rPr>
              <a:t> as input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Market Analysis Report </a:t>
            </a:r>
            <a:r>
              <a:rPr lang="en-US">
                <a:latin typeface="+mn-lt"/>
                <a:ea typeface="+mn-ea"/>
              </a:rPr>
              <a:t>that presents an analysis of the Video Game Industry trend using available data up to the year 2020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Regional Sales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Genre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Platform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4563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Graphical user interface, text, Word&#10;&#10;Description automatically generated">
            <a:extLst>
              <a:ext uri="{FF2B5EF4-FFF2-40B4-BE49-F238E27FC236}">
                <a16:creationId xmlns:a16="http://schemas.microsoft.com/office/drawing/2014/main" id="{D019943F-187F-1430-E8C3-F8DEE94859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7" r="3058"/>
          <a:stretch/>
        </p:blipFill>
        <p:spPr>
          <a:xfrm>
            <a:off x="264159" y="975360"/>
            <a:ext cx="9357265" cy="53218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37900785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69BAD-A0C7-1B08-E0B7-70BEDCD48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CAA434-6EE9-F190-219D-FF24E6B29FF1}"/>
              </a:ext>
            </a:extLst>
          </p:cNvPr>
          <p:cNvSpPr txBox="1"/>
          <p:nvPr/>
        </p:nvSpPr>
        <p:spPr>
          <a:xfrm>
            <a:off x="566056" y="1066800"/>
            <a:ext cx="8882743" cy="225837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ourced the data from Kaggle then preprocessed </a:t>
            </a:r>
            <a:r>
              <a:rPr lang="en-US" sz="1400">
                <a:latin typeface="+mn-lt"/>
                <a:ea typeface="+mn-ea"/>
              </a:rPr>
              <a:t>it</a:t>
            </a:r>
            <a:r>
              <a:rPr kumimoji="1" lang="en-US" sz="1400">
                <a:latin typeface="+mn-lt"/>
                <a:ea typeface="+mn-ea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Conducted Market Trend Analysis by leveraging </a:t>
            </a:r>
            <a:r>
              <a:rPr kumimoji="1" lang="en-US" sz="1400" err="1">
                <a:latin typeface="+mn-lt"/>
                <a:ea typeface="+mn-ea"/>
              </a:rPr>
              <a:t>PowerBI</a:t>
            </a:r>
            <a:endParaRPr kumimoji="1" lang="en-US" sz="1400">
              <a:latin typeface="+mn-lt"/>
              <a:ea typeface="+mn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Moved forward with the EDA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Researched appr</a:t>
            </a:r>
            <a:r>
              <a:rPr lang="en-US" sz="1400">
                <a:latin typeface="+mn-lt"/>
                <a:ea typeface="+mn-ea"/>
              </a:rPr>
              <a:t>opriate algorithm for the recommendation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elected </a:t>
            </a:r>
            <a:r>
              <a:rPr kumimoji="1" lang="en-US" sz="1400" err="1">
                <a:latin typeface="+mn-lt"/>
                <a:ea typeface="+mn-ea"/>
              </a:rPr>
              <a:t>NearestNeighbour</a:t>
            </a:r>
            <a:r>
              <a:rPr kumimoji="1" lang="en-US" sz="1400">
                <a:latin typeface="+mn-lt"/>
                <a:ea typeface="+mn-ea"/>
              </a:rPr>
              <a:t> </a:t>
            </a:r>
            <a:r>
              <a:rPr lang="en-US" sz="1400">
                <a:latin typeface="+mn-lt"/>
                <a:ea typeface="+mn-ea"/>
              </a:rPr>
              <a:t>unsupervised learning model as more appropriate model for the recommendation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Developed a UI prototype for the recommendation model for demo purposes</a:t>
            </a:r>
            <a:endParaRPr kumimoji="1" lang="en-US" sz="14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32578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13B34-5ACF-8AF1-A369-F73B99667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2A81C2-CB9D-5E0D-1B45-AC1250F47E64}"/>
              </a:ext>
            </a:extLst>
          </p:cNvPr>
          <p:cNvSpPr txBox="1"/>
          <p:nvPr/>
        </p:nvSpPr>
        <p:spPr>
          <a:xfrm>
            <a:off x="457201" y="937549"/>
            <a:ext cx="8991599" cy="425289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err="1">
                <a:latin typeface="+mn-lt"/>
                <a:ea typeface="+mn-ea"/>
              </a:rPr>
              <a:t>Kirubi</a:t>
            </a:r>
            <a:r>
              <a:rPr lang="en-US">
                <a:latin typeface="+mn-lt"/>
                <a:ea typeface="+mn-ea"/>
              </a:rPr>
              <a:t>, Rush. (2017). Video Game Sales with Ratings. </a:t>
            </a:r>
            <a:r>
              <a:rPr lang="en-US" i="1">
                <a:latin typeface="+mn-lt"/>
                <a:ea typeface="+mn-ea"/>
              </a:rPr>
              <a:t>Kaggle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datasets/rush4ratio/video-game-sales-with-ratings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1" err="1">
                <a:latin typeface="+mn-lt"/>
                <a:ea typeface="+mn-ea"/>
              </a:rPr>
              <a:t>VGChartz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gchartz.com/gamedb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err="1">
                <a:latin typeface="+mn-lt"/>
                <a:ea typeface="+mn-ea"/>
              </a:rPr>
              <a:t>Kharwal</a:t>
            </a:r>
            <a:r>
              <a:rPr lang="en-US">
                <a:latin typeface="+mn-lt"/>
                <a:ea typeface="+mn-ea"/>
              </a:rPr>
              <a:t>, Aman. (2021, January 17). Book Recommendation System. </a:t>
            </a:r>
            <a:r>
              <a:rPr lang="en-US" i="1">
                <a:latin typeface="+mn-lt"/>
                <a:ea typeface="+mn-ea"/>
              </a:rPr>
              <a:t>The Clever Programmer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hecleverprogrammer.com/2021/01/17/book-recommendation-system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Vijay, Harsh. (2020 April 11). Recommendation System using KNN. </a:t>
            </a:r>
            <a:r>
              <a:rPr lang="en-US" i="1">
                <a:latin typeface="+mn-lt"/>
                <a:ea typeface="+mn-ea"/>
              </a:rPr>
              <a:t>Auriga.</a:t>
            </a:r>
            <a:r>
              <a:rPr lang="en-US">
                <a:latin typeface="+mn-lt"/>
                <a:ea typeface="+mn-ea"/>
              </a:rPr>
              <a:t>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urigait.com/blog/recommendation-system-using-knn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Makwana, Aman. (2022, December 26). Understanding Recommendation System and KNN with Project – Book Recommendation System. </a:t>
            </a:r>
            <a:r>
              <a:rPr lang="en-US" i="1">
                <a:latin typeface="+mn-lt"/>
                <a:ea typeface="+mn-ea"/>
              </a:rPr>
              <a:t>Medium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man-makwana101932.medium.com/understanding-recommendation-system-and-knn-with-project-book-recommendation-system-c648e47ff4f6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Varun. (2020 September 27). Cosine similarity: How does it measure the similarity, </a:t>
            </a:r>
            <a:r>
              <a:rPr lang="en-US" err="1">
                <a:latin typeface="+mn-lt"/>
                <a:ea typeface="+mn-ea"/>
              </a:rPr>
              <a:t>Maths</a:t>
            </a:r>
            <a:r>
              <a:rPr lang="en-US">
                <a:latin typeface="+mn-lt"/>
                <a:ea typeface="+mn-ea"/>
              </a:rPr>
              <a:t> behind and usage in Python. </a:t>
            </a:r>
            <a:r>
              <a:rPr lang="en-US" i="1">
                <a:latin typeface="+mn-lt"/>
                <a:ea typeface="+mn-ea"/>
              </a:rPr>
              <a:t>Toward Data Science.</a:t>
            </a:r>
            <a:r>
              <a:rPr lang="en-US">
                <a:latin typeface="+mn-lt"/>
                <a:ea typeface="+mn-ea"/>
              </a:rPr>
              <a:t>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owardsdatascience.com/cosine-similarity-how-does-it-measure-the-similarity-maths-behind-and-usage-in-python-50ad30aad7db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27396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525F374-C4D2-E7C7-169F-7A411A1B8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48" y="2891929"/>
            <a:ext cx="3665505" cy="107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445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DDBD3-7A20-6F38-ADFC-203FE1B87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35938"/>
          </a:xfrm>
        </p:spPr>
        <p:txBody>
          <a:bodyPr/>
          <a:lstStyle/>
          <a:p>
            <a:r>
              <a:rPr lang="en-US"/>
              <a:t>Project Breakdow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8E2E6C-591B-2532-3244-CFBEB3D97303}"/>
              </a:ext>
            </a:extLst>
          </p:cNvPr>
          <p:cNvSpPr/>
          <p:nvPr/>
        </p:nvSpPr>
        <p:spPr bwMode="auto">
          <a:xfrm>
            <a:off x="670218" y="1626778"/>
            <a:ext cx="1666762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D889D8-F5A6-C97A-9028-43293FE71624}"/>
              </a:ext>
            </a:extLst>
          </p:cNvPr>
          <p:cNvSpPr/>
          <p:nvPr/>
        </p:nvSpPr>
        <p:spPr bwMode="auto">
          <a:xfrm>
            <a:off x="144242" y="1613878"/>
            <a:ext cx="452061" cy="32867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ctivities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A33A6B-1114-137B-5FEF-F28593A92B78}"/>
              </a:ext>
            </a:extLst>
          </p:cNvPr>
          <p:cNvSpPr/>
          <p:nvPr/>
        </p:nvSpPr>
        <p:spPr bwMode="auto">
          <a:xfrm>
            <a:off x="5996448" y="1627899"/>
            <a:ext cx="1670093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C2A5787-E9FE-3F54-31E8-A8A32278A8CC}"/>
              </a:ext>
            </a:extLst>
          </p:cNvPr>
          <p:cNvSpPr/>
          <p:nvPr/>
        </p:nvSpPr>
        <p:spPr bwMode="auto">
          <a:xfrm>
            <a:off x="2448341" y="1626778"/>
            <a:ext cx="1674240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E22BBCF-7641-59BC-D983-6FF39AB6B025}"/>
              </a:ext>
            </a:extLst>
          </p:cNvPr>
          <p:cNvSpPr/>
          <p:nvPr/>
        </p:nvSpPr>
        <p:spPr bwMode="auto">
          <a:xfrm>
            <a:off x="4220246" y="1627615"/>
            <a:ext cx="1681794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7BC25BA-267F-42D5-E179-6DCB3660A00D}"/>
              </a:ext>
            </a:extLst>
          </p:cNvPr>
          <p:cNvSpPr/>
          <p:nvPr/>
        </p:nvSpPr>
        <p:spPr bwMode="auto">
          <a:xfrm>
            <a:off x="7770085" y="1627900"/>
            <a:ext cx="1670093" cy="327281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3C56FD9-2EA9-BEF4-F1AC-398314F8D198}"/>
              </a:ext>
            </a:extLst>
          </p:cNvPr>
          <p:cNvCxnSpPr/>
          <p:nvPr/>
        </p:nvCxnSpPr>
        <p:spPr bwMode="auto">
          <a:xfrm flipV="1">
            <a:off x="2397682" y="5400326"/>
            <a:ext cx="0" cy="1193752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D1EBB1-D891-B8F6-3B8F-DEB018AC6A8B}"/>
              </a:ext>
            </a:extLst>
          </p:cNvPr>
          <p:cNvCxnSpPr/>
          <p:nvPr/>
        </p:nvCxnSpPr>
        <p:spPr bwMode="auto">
          <a:xfrm flipV="1">
            <a:off x="776542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D84FD24-EEBB-6C07-A276-F3F83800DCC7}"/>
              </a:ext>
            </a:extLst>
          </p:cNvPr>
          <p:cNvCxnSpPr/>
          <p:nvPr/>
        </p:nvCxnSpPr>
        <p:spPr bwMode="auto">
          <a:xfrm flipH="1" flipV="1">
            <a:off x="5965208" y="5400326"/>
            <a:ext cx="10966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E749042-19EE-B922-89AD-0A4363E64D3F}"/>
              </a:ext>
            </a:extLst>
          </p:cNvPr>
          <p:cNvCxnSpPr/>
          <p:nvPr/>
        </p:nvCxnSpPr>
        <p:spPr bwMode="auto">
          <a:xfrm flipH="1" flipV="1">
            <a:off x="4180658" y="5379041"/>
            <a:ext cx="627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135E0-8D5C-E824-DC4F-E0B8023292B0}"/>
              </a:ext>
            </a:extLst>
          </p:cNvPr>
          <p:cNvSpPr/>
          <p:nvPr/>
        </p:nvSpPr>
        <p:spPr bwMode="auto">
          <a:xfrm>
            <a:off x="144242" y="5085794"/>
            <a:ext cx="452061" cy="166723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Timelin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8D7A68-8890-56DA-2DC5-9095A27AADDB}"/>
              </a:ext>
            </a:extLst>
          </p:cNvPr>
          <p:cNvSpPr txBox="1"/>
          <p:nvPr/>
        </p:nvSpPr>
        <p:spPr>
          <a:xfrm>
            <a:off x="714695" y="1622819"/>
            <a:ext cx="1634620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Identif</a:t>
            </a:r>
            <a:r>
              <a:rPr kumimoji="1" lang="en-US" sz="1400">
                <a:latin typeface="+mn-lt"/>
                <a:ea typeface="+mn-ea"/>
              </a:rPr>
              <a:t>ying </a:t>
            </a:r>
            <a:r>
              <a:rPr lang="en-US" sz="1400" b="1">
                <a:latin typeface="+mn-lt"/>
                <a:ea typeface="+mn-ea"/>
              </a:rPr>
              <a:t>B</a:t>
            </a:r>
            <a:r>
              <a:rPr kumimoji="1" lang="en-US" sz="1400" b="1">
                <a:latin typeface="+mn-lt"/>
                <a:ea typeface="+mn-ea"/>
              </a:rPr>
              <a:t>usiness Proble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Breaking down business problem into </a:t>
            </a:r>
            <a:r>
              <a:rPr lang="en-US" sz="1400" b="1">
                <a:latin typeface="+mn-lt"/>
                <a:ea typeface="+mn-ea"/>
              </a:rPr>
              <a:t>Key Questions </a:t>
            </a:r>
            <a:r>
              <a:rPr lang="en-US" sz="1400">
                <a:latin typeface="+mn-lt"/>
                <a:ea typeface="+mn-ea"/>
              </a:rPr>
              <a:t>to be answered </a:t>
            </a:r>
          </a:p>
          <a:p>
            <a:endParaRPr kumimoji="1" lang="en-US" sz="1400">
              <a:latin typeface="+mn-lt"/>
              <a:ea typeface="+mn-ea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80B7CAF-CBD3-547F-8771-B49203EFDA02}"/>
              </a:ext>
            </a:extLst>
          </p:cNvPr>
          <p:cNvCxnSpPr/>
          <p:nvPr/>
        </p:nvCxnSpPr>
        <p:spPr bwMode="auto">
          <a:xfrm flipH="1">
            <a:off x="180637" y="5007955"/>
            <a:ext cx="9487844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53AD0D3-4785-BD66-93EC-C2369DB15E3E}"/>
              </a:ext>
            </a:extLst>
          </p:cNvPr>
          <p:cNvSpPr/>
          <p:nvPr/>
        </p:nvSpPr>
        <p:spPr bwMode="auto">
          <a:xfrm>
            <a:off x="5998055" y="1628050"/>
            <a:ext cx="1670093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0E19FA-A503-4BB4-1309-FE812B2A0083}"/>
              </a:ext>
            </a:extLst>
          </p:cNvPr>
          <p:cNvSpPr txBox="1"/>
          <p:nvPr/>
        </p:nvSpPr>
        <p:spPr>
          <a:xfrm>
            <a:off x="6022902" y="1622819"/>
            <a:ext cx="1652774" cy="175990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Model development for video game recommendat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Assessment of  user efficiency </a:t>
            </a:r>
            <a:endParaRPr lang="en-US" sz="1400" b="1">
              <a:latin typeface="+mn-lt"/>
              <a:ea typeface="+mn-ea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  <a:p>
            <a:endParaRPr lang="en-US" sz="1400">
              <a:latin typeface="+mn-lt"/>
              <a:ea typeface="+mn-ea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47479F3-9607-4581-8142-1D09D147583D}"/>
              </a:ext>
            </a:extLst>
          </p:cNvPr>
          <p:cNvSpPr txBox="1"/>
          <p:nvPr/>
        </p:nvSpPr>
        <p:spPr>
          <a:xfrm>
            <a:off x="2997035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2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DA10210-5F4C-9A7B-ACC5-34A0DF6E7188}"/>
              </a:ext>
            </a:extLst>
          </p:cNvPr>
          <p:cNvSpPr txBox="1"/>
          <p:nvPr/>
        </p:nvSpPr>
        <p:spPr>
          <a:xfrm>
            <a:off x="4811887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3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62B4B26-64CC-79DB-2B4A-211E5C7FEC1C}"/>
              </a:ext>
            </a:extLst>
          </p:cNvPr>
          <p:cNvSpPr txBox="1"/>
          <p:nvPr/>
        </p:nvSpPr>
        <p:spPr>
          <a:xfrm>
            <a:off x="6626739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4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05E9642-0443-4E3A-BF85-B808DD4CA586}"/>
              </a:ext>
            </a:extLst>
          </p:cNvPr>
          <p:cNvSpPr txBox="1"/>
          <p:nvPr/>
        </p:nvSpPr>
        <p:spPr>
          <a:xfrm>
            <a:off x="8441591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5</a:t>
            </a:r>
          </a:p>
        </p:txBody>
      </p:sp>
      <p:pic>
        <p:nvPicPr>
          <p:cNvPr id="32" name="Graphic 31" descr="Badge 1 outline">
            <a:extLst>
              <a:ext uri="{FF2B5EF4-FFF2-40B4-BE49-F238E27FC236}">
                <a16:creationId xmlns:a16="http://schemas.microsoft.com/office/drawing/2014/main" id="{47334B4F-4322-D7B4-99B1-B4765BB6C0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3370" y="1060887"/>
            <a:ext cx="203565" cy="187586"/>
          </a:xfrm>
          <a:prstGeom prst="rect">
            <a:avLst/>
          </a:prstGeom>
        </p:spPr>
      </p:pic>
      <p:pic>
        <p:nvPicPr>
          <p:cNvPr id="33" name="Graphic 32" descr="Badge 4 outline">
            <a:extLst>
              <a:ext uri="{FF2B5EF4-FFF2-40B4-BE49-F238E27FC236}">
                <a16:creationId xmlns:a16="http://schemas.microsoft.com/office/drawing/2014/main" id="{9886B12F-4C2D-761E-FCC6-2239DB73A8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86512" y="1148800"/>
            <a:ext cx="203565" cy="187586"/>
          </a:xfrm>
          <a:prstGeom prst="rect">
            <a:avLst/>
          </a:prstGeom>
        </p:spPr>
      </p:pic>
      <p:pic>
        <p:nvPicPr>
          <p:cNvPr id="34" name="Graphic 33" descr="Badge 5 outline">
            <a:extLst>
              <a:ext uri="{FF2B5EF4-FFF2-40B4-BE49-F238E27FC236}">
                <a16:creationId xmlns:a16="http://schemas.microsoft.com/office/drawing/2014/main" id="{B2E45DCC-FF10-8FD1-4369-017CC908AA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99927" y="1148800"/>
            <a:ext cx="203565" cy="187586"/>
          </a:xfrm>
          <a:prstGeom prst="rect">
            <a:avLst/>
          </a:prstGeom>
        </p:spPr>
      </p:pic>
      <p:pic>
        <p:nvPicPr>
          <p:cNvPr id="35" name="Graphic 34" descr="Badge 3 outline">
            <a:extLst>
              <a:ext uri="{FF2B5EF4-FFF2-40B4-BE49-F238E27FC236}">
                <a16:creationId xmlns:a16="http://schemas.microsoft.com/office/drawing/2014/main" id="{7D577EC4-A2DD-AD24-E454-B239F09561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01326" y="1049341"/>
            <a:ext cx="203565" cy="187586"/>
          </a:xfrm>
          <a:prstGeom prst="rect">
            <a:avLst/>
          </a:prstGeom>
        </p:spPr>
      </p:pic>
      <p:pic>
        <p:nvPicPr>
          <p:cNvPr id="36" name="Graphic 35" descr="Badge outline">
            <a:extLst>
              <a:ext uri="{FF2B5EF4-FFF2-40B4-BE49-F238E27FC236}">
                <a16:creationId xmlns:a16="http://schemas.microsoft.com/office/drawing/2014/main" id="{64A5C6D0-36EF-0864-CC16-CBD8291319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62293" y="1058279"/>
            <a:ext cx="203565" cy="187586"/>
          </a:xfrm>
          <a:prstGeom prst="rect">
            <a:avLst/>
          </a:prstGeom>
        </p:spPr>
      </p:pic>
      <p:sp>
        <p:nvSpPr>
          <p:cNvPr id="42" name="Pentagon 3">
            <a:extLst>
              <a:ext uri="{FF2B5EF4-FFF2-40B4-BE49-F238E27FC236}">
                <a16:creationId xmlns:a16="http://schemas.microsoft.com/office/drawing/2014/main" id="{07901F46-999D-9599-80A5-952C25E4934D}"/>
              </a:ext>
            </a:extLst>
          </p:cNvPr>
          <p:cNvSpPr/>
          <p:nvPr/>
        </p:nvSpPr>
        <p:spPr bwMode="auto">
          <a:xfrm>
            <a:off x="669886" y="826096"/>
            <a:ext cx="2001526" cy="696020"/>
          </a:xfrm>
          <a:prstGeom prst="homePlate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ilestone 1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Project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tails &amp; Design</a:t>
            </a:r>
          </a:p>
        </p:txBody>
      </p:sp>
      <p:sp>
        <p:nvSpPr>
          <p:cNvPr id="43" name="Chevron 6">
            <a:extLst>
              <a:ext uri="{FF2B5EF4-FFF2-40B4-BE49-F238E27FC236}">
                <a16:creationId xmlns:a16="http://schemas.microsoft.com/office/drawing/2014/main" id="{5429FFFC-21E5-9AB6-653F-4E9EB0272F10}"/>
              </a:ext>
            </a:extLst>
          </p:cNvPr>
          <p:cNvSpPr/>
          <p:nvPr/>
        </p:nvSpPr>
        <p:spPr bwMode="auto">
          <a:xfrm>
            <a:off x="2442471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 2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Acquisition </a:t>
            </a:r>
            <a:endParaRPr kumimoji="1" lang="en-U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4" name="Chevron 6">
            <a:extLst>
              <a:ext uri="{FF2B5EF4-FFF2-40B4-BE49-F238E27FC236}">
                <a16:creationId xmlns:a16="http://schemas.microsoft.com/office/drawing/2014/main" id="{66A83041-8009-74B9-DC8D-760D13BCCD5D}"/>
              </a:ext>
            </a:extLst>
          </p:cNvPr>
          <p:cNvSpPr/>
          <p:nvPr/>
        </p:nvSpPr>
        <p:spPr bwMode="auto">
          <a:xfrm>
            <a:off x="4215058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3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ata</a:t>
            </a: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 </a:t>
            </a: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nalysis &amp;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Visualization</a:t>
            </a:r>
          </a:p>
        </p:txBody>
      </p:sp>
      <p:sp>
        <p:nvSpPr>
          <p:cNvPr id="45" name="Chevron 6">
            <a:extLst>
              <a:ext uri="{FF2B5EF4-FFF2-40B4-BE49-F238E27FC236}">
                <a16:creationId xmlns:a16="http://schemas.microsoft.com/office/drawing/2014/main" id="{8EC4A7CD-3F65-6DAB-0069-14CAF624F374}"/>
              </a:ext>
            </a:extLst>
          </p:cNvPr>
          <p:cNvSpPr/>
          <p:nvPr/>
        </p:nvSpPr>
        <p:spPr bwMode="auto">
          <a:xfrm>
            <a:off x="5987644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4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Model Creation &amp;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Evaluation</a:t>
            </a:r>
          </a:p>
        </p:txBody>
      </p:sp>
      <p:sp>
        <p:nvSpPr>
          <p:cNvPr id="46" name="Chevron 6">
            <a:extLst>
              <a:ext uri="{FF2B5EF4-FFF2-40B4-BE49-F238E27FC236}">
                <a16:creationId xmlns:a16="http://schemas.microsoft.com/office/drawing/2014/main" id="{732D6F40-6BB6-B61F-B5D4-6ED14664FB5E}"/>
              </a:ext>
            </a:extLst>
          </p:cNvPr>
          <p:cNvSpPr/>
          <p:nvPr/>
        </p:nvSpPr>
        <p:spPr bwMode="auto">
          <a:xfrm>
            <a:off x="7760231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5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  Project Presentat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&amp; Report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8D845CF-9E0C-B429-9775-0D484E01EA66}"/>
              </a:ext>
            </a:extLst>
          </p:cNvPr>
          <p:cNvGrpSpPr/>
          <p:nvPr/>
        </p:nvGrpSpPr>
        <p:grpSpPr>
          <a:xfrm>
            <a:off x="7989173" y="6293966"/>
            <a:ext cx="1560798" cy="216212"/>
            <a:chOff x="716857" y="5483463"/>
            <a:chExt cx="1727462" cy="201238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9DF18EF-88EE-27E8-C598-618AFC55A609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3B5E3E3-7C71-8E0A-4BC6-5A751E9DCC77}"/>
                </a:ext>
              </a:extLst>
            </p:cNvPr>
            <p:cNvSpPr txBox="1"/>
            <p:nvPr/>
          </p:nvSpPr>
          <p:spPr>
            <a:xfrm>
              <a:off x="1238560" y="5483463"/>
              <a:ext cx="888737" cy="17706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5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2E73C8D-8DE8-D7B3-5353-0907A4D9DE80}"/>
              </a:ext>
            </a:extLst>
          </p:cNvPr>
          <p:cNvGrpSpPr/>
          <p:nvPr/>
        </p:nvGrpSpPr>
        <p:grpSpPr>
          <a:xfrm>
            <a:off x="5965209" y="6076962"/>
            <a:ext cx="2023961" cy="220500"/>
            <a:chOff x="716857" y="5516164"/>
            <a:chExt cx="1994265" cy="16853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5636ED2-C280-C3B9-4432-E5036C5D6EC7}"/>
                </a:ext>
              </a:extLst>
            </p:cNvPr>
            <p:cNvSpPr/>
            <p:nvPr/>
          </p:nvSpPr>
          <p:spPr bwMode="auto">
            <a:xfrm>
              <a:off x="716857" y="5519441"/>
              <a:ext cx="1994265" cy="16526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FE7F602-4980-9420-92B7-CC205D756A7D}"/>
                </a:ext>
              </a:extLst>
            </p:cNvPr>
            <p:cNvSpPr txBox="1"/>
            <p:nvPr/>
          </p:nvSpPr>
          <p:spPr>
            <a:xfrm>
              <a:off x="1276573" y="5516164"/>
              <a:ext cx="904817" cy="14540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4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63B5678-DD8B-845F-10A5-57D58B5E15CA}"/>
              </a:ext>
            </a:extLst>
          </p:cNvPr>
          <p:cNvGrpSpPr/>
          <p:nvPr/>
        </p:nvGrpSpPr>
        <p:grpSpPr>
          <a:xfrm>
            <a:off x="4186038" y="5852793"/>
            <a:ext cx="2440701" cy="193562"/>
            <a:chOff x="716857" y="5503983"/>
            <a:chExt cx="1727462" cy="182096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173DC67-D78A-36A1-8A6D-F09E1040DB1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70E9CF7-7C75-02A8-7605-4F15DBCAA5D3}"/>
                </a:ext>
              </a:extLst>
            </p:cNvPr>
            <p:cNvSpPr txBox="1"/>
            <p:nvPr/>
          </p:nvSpPr>
          <p:spPr>
            <a:xfrm>
              <a:off x="1311127" y="5503983"/>
              <a:ext cx="521621" cy="18209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3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65EA050-8FA9-F285-87A3-ADEABCA86E66}"/>
              </a:ext>
            </a:extLst>
          </p:cNvPr>
          <p:cNvGrpSpPr/>
          <p:nvPr/>
        </p:nvGrpSpPr>
        <p:grpSpPr>
          <a:xfrm>
            <a:off x="2397681" y="5612530"/>
            <a:ext cx="1778281" cy="217866"/>
            <a:chOff x="716857" y="5483464"/>
            <a:chExt cx="1727462" cy="201237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2F1FAF7-4B96-54C1-AD0A-606B2F5C434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51C7185-6514-40E9-8673-1E963920E5D8}"/>
                </a:ext>
              </a:extLst>
            </p:cNvPr>
            <p:cNvSpPr txBox="1"/>
            <p:nvPr/>
          </p:nvSpPr>
          <p:spPr>
            <a:xfrm>
              <a:off x="1179251" y="5483464"/>
              <a:ext cx="771895" cy="17572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2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12F07E45-8ECE-FED8-3E02-EB6717A7F9B5}"/>
              </a:ext>
            </a:extLst>
          </p:cNvPr>
          <p:cNvSpPr/>
          <p:nvPr/>
        </p:nvSpPr>
        <p:spPr bwMode="auto">
          <a:xfrm>
            <a:off x="2449948" y="1626928"/>
            <a:ext cx="1674240" cy="2801877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3401B7-0B9A-64D3-FD38-0D7661AAC177}"/>
              </a:ext>
            </a:extLst>
          </p:cNvPr>
          <p:cNvSpPr txBox="1"/>
          <p:nvPr/>
        </p:nvSpPr>
        <p:spPr>
          <a:xfrm>
            <a:off x="2487129" y="1622819"/>
            <a:ext cx="163545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ourcing relevant data </a:t>
            </a:r>
            <a:r>
              <a:rPr lang="en-US" sz="1400">
                <a:latin typeface="+mn-lt"/>
                <a:ea typeface="+mn-ea"/>
              </a:rPr>
              <a:t>to address the identified business prob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Cross-validating data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 b="1">
                <a:latin typeface="+mn-lt"/>
                <a:ea typeface="+mn-ea"/>
              </a:rPr>
              <a:t>Data Sources used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sz="1400">
              <a:latin typeface="+mn-lt"/>
              <a:ea typeface="+mn-ea"/>
            </a:endParaRP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6B4209CA-FC52-CFD1-8EC3-49D83F3BC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085" y="3583199"/>
            <a:ext cx="1132160" cy="43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F6D9D56-FA06-FE8C-4412-DDCF7A3B76C2}"/>
              </a:ext>
            </a:extLst>
          </p:cNvPr>
          <p:cNvSpPr/>
          <p:nvPr/>
        </p:nvSpPr>
        <p:spPr bwMode="auto">
          <a:xfrm>
            <a:off x="4222716" y="1628049"/>
            <a:ext cx="1681794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63BD26-9DB2-6690-DBEA-64A1A7872482}"/>
              </a:ext>
            </a:extLst>
          </p:cNvPr>
          <p:cNvSpPr txBox="1"/>
          <p:nvPr/>
        </p:nvSpPr>
        <p:spPr>
          <a:xfrm>
            <a:off x="4245050" y="1622819"/>
            <a:ext cx="162680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xploratory Data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valuating Data Distribu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Data </a:t>
            </a:r>
            <a:r>
              <a:rPr lang="en-US" sz="1400">
                <a:latin typeface="+mn-lt"/>
                <a:ea typeface="+mn-ea"/>
              </a:rPr>
              <a:t>Preproc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Market Trend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  <a:endParaRPr kumimoji="1" lang="en-US" sz="1400" b="1">
              <a:latin typeface="+mn-lt"/>
              <a:ea typeface="+mn-ea"/>
            </a:endParaRPr>
          </a:p>
        </p:txBody>
      </p:sp>
      <p:pic>
        <p:nvPicPr>
          <p:cNvPr id="79" name="Picture 10">
            <a:extLst>
              <a:ext uri="{FF2B5EF4-FFF2-40B4-BE49-F238E27FC236}">
                <a16:creationId xmlns:a16="http://schemas.microsoft.com/office/drawing/2014/main" id="{56FD70D9-530E-AB96-5F32-222B4E4518D9}"/>
              </a:ext>
            </a:extLst>
          </p:cNvPr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326" y="3625212"/>
            <a:ext cx="536276" cy="46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Power BI - Microsoft Logo PNG Vector (SVG) Free Download">
            <a:extLst>
              <a:ext uri="{FF2B5EF4-FFF2-40B4-BE49-F238E27FC236}">
                <a16:creationId xmlns:a16="http://schemas.microsoft.com/office/drawing/2014/main" id="{BA245991-5EA3-2C08-82C9-CBEB383EA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226" y="3622040"/>
            <a:ext cx="1074163" cy="42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8472552-2D94-AAC1-41F8-A98A2B57E85A}"/>
              </a:ext>
            </a:extLst>
          </p:cNvPr>
          <p:cNvCxnSpPr>
            <a:cxnSpLocks/>
          </p:cNvCxnSpPr>
          <p:nvPr/>
        </p:nvCxnSpPr>
        <p:spPr bwMode="auto">
          <a:xfrm flipV="1">
            <a:off x="670218" y="5379041"/>
            <a:ext cx="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F643AD0D-A7E7-36A0-3794-C9DED26CD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375" y="4224319"/>
            <a:ext cx="1257300" cy="32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2244FCFA-415A-2FC0-BD3E-55C740F16A3F}"/>
              </a:ext>
            </a:extLst>
          </p:cNvPr>
          <p:cNvGrpSpPr/>
          <p:nvPr/>
        </p:nvGrpSpPr>
        <p:grpSpPr>
          <a:xfrm>
            <a:off x="4205956" y="4163119"/>
            <a:ext cx="3460585" cy="719602"/>
            <a:chOff x="4221388" y="3965940"/>
            <a:chExt cx="3534836" cy="104129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902FDB3-294B-A754-02B2-525D196A01F0}"/>
                </a:ext>
              </a:extLst>
            </p:cNvPr>
            <p:cNvSpPr/>
            <p:nvPr/>
          </p:nvSpPr>
          <p:spPr bwMode="auto">
            <a:xfrm>
              <a:off x="4221388" y="3965940"/>
              <a:ext cx="3534836" cy="10412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solidFill>
                    <a:schemeClr val="tx2"/>
                  </a:solidFill>
                  <a:prstDash val="dash"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024E302B-F66A-42CD-0225-0E4B41919E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5364" y="4163097"/>
              <a:ext cx="625392" cy="784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20D8888-DB2B-2224-A89D-902B31953387}"/>
                </a:ext>
              </a:extLst>
            </p:cNvPr>
            <p:cNvSpPr/>
            <p:nvPr/>
          </p:nvSpPr>
          <p:spPr bwMode="auto">
            <a:xfrm>
              <a:off x="6553200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0405C641-19C0-804F-704E-3B2CF82A1DC2}"/>
                </a:ext>
              </a:extLst>
            </p:cNvPr>
            <p:cNvSpPr/>
            <p:nvPr/>
          </p:nvSpPr>
          <p:spPr bwMode="auto">
            <a:xfrm flipH="1" flipV="1">
              <a:off x="4368294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450EA4A-CF1A-E6F0-A0FB-20952272DCD9}"/>
              </a:ext>
            </a:extLst>
          </p:cNvPr>
          <p:cNvSpPr/>
          <p:nvPr/>
        </p:nvSpPr>
        <p:spPr bwMode="auto">
          <a:xfrm>
            <a:off x="7771692" y="1628051"/>
            <a:ext cx="1670093" cy="280092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88DB81-DF81-4FFA-7CF6-137C2BFAE673}"/>
              </a:ext>
            </a:extLst>
          </p:cNvPr>
          <p:cNvSpPr txBox="1"/>
          <p:nvPr/>
        </p:nvSpPr>
        <p:spPr>
          <a:xfrm>
            <a:off x="7826727" y="1628050"/>
            <a:ext cx="1564240" cy="111357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reparation for final project report and pres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</p:txBody>
      </p:sp>
      <p:pic>
        <p:nvPicPr>
          <p:cNvPr id="1046" name="Picture 22">
            <a:extLst>
              <a:ext uri="{FF2B5EF4-FFF2-40B4-BE49-F238E27FC236}">
                <a16:creationId xmlns:a16="http://schemas.microsoft.com/office/drawing/2014/main" id="{BF6B4C31-1FAA-7456-15A4-E822D95B2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4298" y="3833950"/>
            <a:ext cx="834765" cy="82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4C363E-8956-61DC-7AED-1A4D89D0CD8E}"/>
              </a:ext>
            </a:extLst>
          </p:cNvPr>
          <p:cNvSpPr txBox="1"/>
          <p:nvPr/>
        </p:nvSpPr>
        <p:spPr>
          <a:xfrm>
            <a:off x="1289302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1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7D8EC22-D5DB-5D52-5EEB-FC3D961B92CF}"/>
              </a:ext>
            </a:extLst>
          </p:cNvPr>
          <p:cNvGrpSpPr/>
          <p:nvPr/>
        </p:nvGrpSpPr>
        <p:grpSpPr>
          <a:xfrm>
            <a:off x="669886" y="5398544"/>
            <a:ext cx="1732492" cy="206488"/>
            <a:chOff x="716858" y="5502265"/>
            <a:chExt cx="1564099" cy="19906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52F693B-2E26-34C3-BBC9-488E899AD1DD}"/>
                </a:ext>
              </a:extLst>
            </p:cNvPr>
            <p:cNvSpPr/>
            <p:nvPr/>
          </p:nvSpPr>
          <p:spPr bwMode="auto">
            <a:xfrm>
              <a:off x="716858" y="5503983"/>
              <a:ext cx="1564099" cy="1973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2E7C7EA-B737-736F-8FEB-446BA2001AA7}"/>
                </a:ext>
              </a:extLst>
            </p:cNvPr>
            <p:cNvSpPr txBox="1"/>
            <p:nvPr/>
          </p:nvSpPr>
          <p:spPr>
            <a:xfrm>
              <a:off x="1113982" y="5502265"/>
              <a:ext cx="753014" cy="183402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1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0230051-6A9F-5AF4-C0A2-CFF5F2B67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357" y="6562786"/>
            <a:ext cx="3275318" cy="19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0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Schedule:</a:t>
            </a:r>
            <a:r>
              <a:rPr lang="en-US" altLang="ja-JP" sz="10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March 16, 2023, to April 20, 2023</a:t>
            </a:r>
            <a:endParaRPr lang="ja-JP" altLang="en-US" sz="100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A91034-864C-8B5E-1E9F-7A4DB98FA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109" y="3061878"/>
            <a:ext cx="511930" cy="63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C59EDC-27F4-AF99-FE50-8285E4EF8AB9}"/>
              </a:ext>
            </a:extLst>
          </p:cNvPr>
          <p:cNvCxnSpPr/>
          <p:nvPr/>
        </p:nvCxnSpPr>
        <p:spPr bwMode="auto">
          <a:xfrm flipV="1">
            <a:off x="953520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70713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ussion on Project Details &amp; Desig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eaking down the business problem into key questions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3E17FB9-383B-FD05-337B-32138CB104AF}"/>
              </a:ext>
            </a:extLst>
          </p:cNvPr>
          <p:cNvGrpSpPr/>
          <p:nvPr/>
        </p:nvGrpSpPr>
        <p:grpSpPr>
          <a:xfrm>
            <a:off x="2677847" y="4020204"/>
            <a:ext cx="2752860" cy="2566309"/>
            <a:chOff x="2660639" y="1779678"/>
            <a:chExt cx="2810351" cy="2566309"/>
          </a:xfrm>
        </p:grpSpPr>
        <p:cxnSp>
          <p:nvCxnSpPr>
            <p:cNvPr id="11" name="AutoShape 37">
              <a:extLst>
                <a:ext uri="{FF2B5EF4-FFF2-40B4-BE49-F238E27FC236}">
                  <a16:creationId xmlns:a16="http://schemas.microsoft.com/office/drawing/2014/main" id="{59CCCB6D-E1B6-FD20-C76C-03A3D9CE576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3233487" y="1991022"/>
              <a:ext cx="1" cy="2019963"/>
            </a:xfrm>
            <a:prstGeom prst="bentConnector3">
              <a:avLst>
                <a:gd name="adj1" fmla="val 22860100000"/>
              </a:avLst>
            </a:prstGeom>
            <a:noFill/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A1C53FA-E3A2-A03E-86FD-C1E8F9C27646}"/>
                </a:ext>
              </a:extLst>
            </p:cNvPr>
            <p:cNvGrpSpPr/>
            <p:nvPr/>
          </p:nvGrpSpPr>
          <p:grpSpPr>
            <a:xfrm>
              <a:off x="3233487" y="3675981"/>
              <a:ext cx="2237503" cy="670006"/>
              <a:chOff x="3387101" y="1674128"/>
              <a:chExt cx="1292401" cy="642012"/>
            </a:xfrm>
          </p:grpSpPr>
          <p:sp>
            <p:nvSpPr>
              <p:cNvPr id="19" name="Rectangle 3">
                <a:extLst>
                  <a:ext uri="{FF2B5EF4-FFF2-40B4-BE49-F238E27FC236}">
                    <a16:creationId xmlns:a16="http://schemas.microsoft.com/office/drawing/2014/main" id="{E6A0ABD2-A0EA-B02B-BBEA-7BBE4215370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64201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55F3863-A5DE-774A-C7C2-464F4C4ECA0F}"/>
                  </a:ext>
                </a:extLst>
              </p:cNvPr>
              <p:cNvSpPr txBox="1"/>
              <p:nvPr/>
            </p:nvSpPr>
            <p:spPr>
              <a:xfrm>
                <a:off x="3467099" y="1696180"/>
                <a:ext cx="1189329" cy="565683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How to </a:t>
                </a:r>
                <a:r>
                  <a:rPr lang="en-US" altLang="ja-JP" sz="1200" kern="0">
                    <a:solidFill>
                      <a:schemeClr val="bg2">
                        <a:lumMod val="25000"/>
                      </a:schemeClr>
                    </a:solidFill>
                    <a:latin typeface="+mj-lt"/>
                    <a:ea typeface="Meiryo UI"/>
                  </a:rPr>
                  <a:t>assess </a:t>
                </a: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the accuracy and/or user efficiency of the model?</a:t>
                </a: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08FD350-913D-B1EF-9D7C-39844DACAF50}"/>
                </a:ext>
              </a:extLst>
            </p:cNvPr>
            <p:cNvGrpSpPr/>
            <p:nvPr/>
          </p:nvGrpSpPr>
          <p:grpSpPr>
            <a:xfrm>
              <a:off x="3228703" y="2446293"/>
              <a:ext cx="2233023" cy="469860"/>
              <a:chOff x="3387101" y="1674128"/>
              <a:chExt cx="1292401" cy="838521"/>
            </a:xfrm>
          </p:grpSpPr>
          <p:sp>
            <p:nvSpPr>
              <p:cNvPr id="22" name="Rectangle 3">
                <a:extLst>
                  <a:ext uri="{FF2B5EF4-FFF2-40B4-BE49-F238E27FC236}">
                    <a16:creationId xmlns:a16="http://schemas.microsoft.com/office/drawing/2014/main" id="{C8E6FA15-115D-6625-F13F-AE5C98636E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38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09141E3-8D4F-0C55-B703-383AE7B240F1}"/>
                  </a:ext>
                </a:extLst>
              </p:cNvPr>
              <p:cNvSpPr txBox="1"/>
              <p:nvPr/>
            </p:nvSpPr>
            <p:spPr>
              <a:xfrm>
                <a:off x="3467099" y="1696182"/>
                <a:ext cx="1189329" cy="72399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model is the most appropriate?</a:t>
                </a: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</p:grpSp>
        <p:cxnSp>
          <p:nvCxnSpPr>
            <p:cNvPr id="43" name="AutoShape 33">
              <a:extLst>
                <a:ext uri="{FF2B5EF4-FFF2-40B4-BE49-F238E27FC236}">
                  <a16:creationId xmlns:a16="http://schemas.microsoft.com/office/drawing/2014/main" id="{A6A5E955-0304-E77D-8693-0357AD4786F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60639" y="2976620"/>
              <a:ext cx="342446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DF8B24CF-92A8-300A-D37A-9E4275E1CECE}"/>
                </a:ext>
              </a:extLst>
            </p:cNvPr>
            <p:cNvGrpSpPr/>
            <p:nvPr/>
          </p:nvGrpSpPr>
          <p:grpSpPr>
            <a:xfrm>
              <a:off x="3228704" y="3061137"/>
              <a:ext cx="2239390" cy="469860"/>
              <a:chOff x="3387101" y="1674128"/>
              <a:chExt cx="1292401" cy="838521"/>
            </a:xfrm>
          </p:grpSpPr>
          <p:sp>
            <p:nvSpPr>
              <p:cNvPr id="87" name="Rectangle 3">
                <a:extLst>
                  <a:ext uri="{FF2B5EF4-FFF2-40B4-BE49-F238E27FC236}">
                    <a16:creationId xmlns:a16="http://schemas.microsoft.com/office/drawing/2014/main" id="{D6B714E4-E1F9-3762-237B-78ADF32CD29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38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2AFBA731-73C7-E96E-16DA-58BCCF46A2ED}"/>
                  </a:ext>
                </a:extLst>
              </p:cNvPr>
              <p:cNvSpPr txBox="1"/>
              <p:nvPr/>
            </p:nvSpPr>
            <p:spPr>
              <a:xfrm>
                <a:off x="3467099" y="1696182"/>
                <a:ext cx="1189329" cy="72399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are the relevant features to consider?</a:t>
                </a:r>
              </a:p>
            </p:txBody>
          </p:sp>
        </p:grpSp>
        <p:cxnSp>
          <p:nvCxnSpPr>
            <p:cNvPr id="96" name="AutoShape 33">
              <a:extLst>
                <a:ext uri="{FF2B5EF4-FFF2-40B4-BE49-F238E27FC236}">
                  <a16:creationId xmlns:a16="http://schemas.microsoft.com/office/drawing/2014/main" id="{5D14DEC2-8A8A-A670-9422-3A2C4F076FD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18325" y="3296067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AutoShape 33">
              <a:extLst>
                <a:ext uri="{FF2B5EF4-FFF2-40B4-BE49-F238E27FC236}">
                  <a16:creationId xmlns:a16="http://schemas.microsoft.com/office/drawing/2014/main" id="{CB286FAB-0DCC-858E-D06C-A2EC1EBC091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09858" y="2661492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059CEB1-A212-A79A-6A8F-176B4B6F4E1A}"/>
                </a:ext>
              </a:extLst>
            </p:cNvPr>
            <p:cNvGrpSpPr/>
            <p:nvPr/>
          </p:nvGrpSpPr>
          <p:grpSpPr>
            <a:xfrm>
              <a:off x="3231307" y="1779678"/>
              <a:ext cx="2237504" cy="519789"/>
              <a:chOff x="3387101" y="1674128"/>
              <a:chExt cx="1292401" cy="829601"/>
            </a:xfrm>
          </p:grpSpPr>
          <p:sp>
            <p:nvSpPr>
              <p:cNvPr id="31" name="Rectangle 3">
                <a:extLst>
                  <a:ext uri="{FF2B5EF4-FFF2-40B4-BE49-F238E27FC236}">
                    <a16:creationId xmlns:a16="http://schemas.microsoft.com/office/drawing/2014/main" id="{F34F7A7E-43AE-30DD-1867-F687059496D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2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2582686-07E0-ABD1-1DD0-EED7B6E2E468}"/>
                  </a:ext>
                </a:extLst>
              </p:cNvPr>
              <p:cNvSpPr txBox="1"/>
              <p:nvPr/>
            </p:nvSpPr>
            <p:spPr>
              <a:xfrm>
                <a:off x="3467099" y="1696180"/>
                <a:ext cx="1189329" cy="789192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tool best meets the requirements of the request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E09477F-7F23-418A-65B6-AFB852825EA1}"/>
              </a:ext>
            </a:extLst>
          </p:cNvPr>
          <p:cNvGrpSpPr/>
          <p:nvPr/>
        </p:nvGrpSpPr>
        <p:grpSpPr>
          <a:xfrm>
            <a:off x="2677751" y="1822723"/>
            <a:ext cx="2752956" cy="1969087"/>
            <a:chOff x="2660641" y="4634193"/>
            <a:chExt cx="2810449" cy="1969087"/>
          </a:xfrm>
        </p:grpSpPr>
        <p:cxnSp>
          <p:nvCxnSpPr>
            <p:cNvPr id="25" name="AutoShape 35">
              <a:extLst>
                <a:ext uri="{FF2B5EF4-FFF2-40B4-BE49-F238E27FC236}">
                  <a16:creationId xmlns:a16="http://schemas.microsoft.com/office/drawing/2014/main" id="{FAC6538B-89F4-1CB3-CB1B-49682996FDE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60641" y="5534215"/>
              <a:ext cx="342446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F8BB3386-DB23-EB1F-358C-ACAB59E6EFC6}"/>
                </a:ext>
              </a:extLst>
            </p:cNvPr>
            <p:cNvGrpSpPr/>
            <p:nvPr/>
          </p:nvGrpSpPr>
          <p:grpSpPr>
            <a:xfrm>
              <a:off x="3228706" y="5275006"/>
              <a:ext cx="2242384" cy="518993"/>
              <a:chOff x="3455185" y="4445330"/>
              <a:chExt cx="2197610" cy="454973"/>
            </a:xfrm>
          </p:grpSpPr>
          <p:sp>
            <p:nvSpPr>
              <p:cNvPr id="38" name="Rectangle 3">
                <a:extLst>
                  <a:ext uri="{FF2B5EF4-FFF2-40B4-BE49-F238E27FC236}">
                    <a16:creationId xmlns:a16="http://schemas.microsoft.com/office/drawing/2014/main" id="{1AF79E20-D698-73E8-5562-30F91D9535B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5185" y="4451014"/>
                <a:ext cx="2197610" cy="44928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A97D0B7-F9BE-069B-952E-D417E00043A4}"/>
                  </a:ext>
                </a:extLst>
              </p:cNvPr>
              <p:cNvSpPr txBox="1"/>
              <p:nvPr/>
            </p:nvSpPr>
            <p:spPr>
              <a:xfrm>
                <a:off x="3590915" y="4445330"/>
                <a:ext cx="2014352" cy="435312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information is relevant to understand the trend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cxnSp>
          <p:nvCxnSpPr>
            <p:cNvPr id="47" name="AutoShape 37">
              <a:extLst>
                <a:ext uri="{FF2B5EF4-FFF2-40B4-BE49-F238E27FC236}">
                  <a16:creationId xmlns:a16="http://schemas.microsoft.com/office/drawing/2014/main" id="{89309A2F-53F5-5B90-7411-2A4AB17CE5D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3245312" y="4768057"/>
              <a:ext cx="31809" cy="1497506"/>
            </a:xfrm>
            <a:prstGeom prst="bentConnector3">
              <a:avLst>
                <a:gd name="adj1" fmla="val 818665"/>
              </a:avLst>
            </a:prstGeom>
            <a:noFill/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A9F843F-9F7C-A830-D1ED-67E3EF1803C4}"/>
                </a:ext>
              </a:extLst>
            </p:cNvPr>
            <p:cNvGrpSpPr/>
            <p:nvPr/>
          </p:nvGrpSpPr>
          <p:grpSpPr>
            <a:xfrm>
              <a:off x="3228704" y="4634193"/>
              <a:ext cx="2242384" cy="484815"/>
              <a:chOff x="3455185" y="4445330"/>
              <a:chExt cx="2197610" cy="451691"/>
            </a:xfrm>
          </p:grpSpPr>
          <p:sp>
            <p:nvSpPr>
              <p:cNvPr id="91" name="Rectangle 3">
                <a:extLst>
                  <a:ext uri="{FF2B5EF4-FFF2-40B4-BE49-F238E27FC236}">
                    <a16:creationId xmlns:a16="http://schemas.microsoft.com/office/drawing/2014/main" id="{0772F04D-D09A-4238-9122-596715F2794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5185" y="4447732"/>
                <a:ext cx="2197610" cy="44928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B295DEDD-BAAC-4774-F1F9-1BD179ABFA8A}"/>
                  </a:ext>
                </a:extLst>
              </p:cNvPr>
              <p:cNvSpPr txBox="1"/>
              <p:nvPr/>
            </p:nvSpPr>
            <p:spPr>
              <a:xfrm>
                <a:off x="3590919" y="4445330"/>
                <a:ext cx="2059743" cy="377966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tool best meets the requirements of the request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cxnSp>
          <p:nvCxnSpPr>
            <p:cNvPr id="99" name="AutoShape 33">
              <a:extLst>
                <a:ext uri="{FF2B5EF4-FFF2-40B4-BE49-F238E27FC236}">
                  <a16:creationId xmlns:a16="http://schemas.microsoft.com/office/drawing/2014/main" id="{D4981105-C734-3272-C09E-A8F4B440B7F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998198" y="5532454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DC8D437B-877B-83C6-BAB2-FD6E660D29AE}"/>
                </a:ext>
              </a:extLst>
            </p:cNvPr>
            <p:cNvGrpSpPr/>
            <p:nvPr/>
          </p:nvGrpSpPr>
          <p:grpSpPr>
            <a:xfrm>
              <a:off x="3228702" y="5944409"/>
              <a:ext cx="2237501" cy="658871"/>
              <a:chOff x="3450402" y="6153330"/>
              <a:chExt cx="2192825" cy="451691"/>
            </a:xfrm>
          </p:grpSpPr>
          <p:sp>
            <p:nvSpPr>
              <p:cNvPr id="39" name="Rectangle 3">
                <a:extLst>
                  <a:ext uri="{FF2B5EF4-FFF2-40B4-BE49-F238E27FC236}">
                    <a16:creationId xmlns:a16="http://schemas.microsoft.com/office/drawing/2014/main" id="{15BA1181-4B66-8CA6-3425-9770E8F201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0402" y="6161610"/>
                <a:ext cx="2192825" cy="44341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CE2C794-F541-994E-3ED7-6AD35EC7FD7A}"/>
                  </a:ext>
                </a:extLst>
              </p:cNvPr>
              <p:cNvSpPr txBox="1"/>
              <p:nvPr/>
            </p:nvSpPr>
            <p:spPr>
              <a:xfrm>
                <a:off x="3585864" y="6153330"/>
                <a:ext cx="2057363" cy="404716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is the coverage of data in terms of Games’ release year?</a:t>
                </a:r>
              </a:p>
            </p:txBody>
          </p:sp>
        </p:grpSp>
      </p:grpSp>
      <p:cxnSp>
        <p:nvCxnSpPr>
          <p:cNvPr id="7" name="AutoShape 45">
            <a:extLst>
              <a:ext uri="{FF2B5EF4-FFF2-40B4-BE49-F238E27FC236}">
                <a16:creationId xmlns:a16="http://schemas.microsoft.com/office/drawing/2014/main" id="{ED982B0C-220B-D0FF-E3D5-B9211F8B46A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297464" y="3787711"/>
            <a:ext cx="183864" cy="0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3">
            <a:extLst>
              <a:ext uri="{FF2B5EF4-FFF2-40B4-BE49-F238E27FC236}">
                <a16:creationId xmlns:a16="http://schemas.microsoft.com/office/drawing/2014/main" id="{F138DB48-8D26-EE9F-C159-D38C78BA9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26" y="3521810"/>
            <a:ext cx="939583" cy="5400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anchor="ctr" anchorCtr="1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eiryo UI"/>
              </a:rPr>
              <a:t>Client’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200" kern="0">
                <a:solidFill>
                  <a:srgbClr val="FFFFFF"/>
                </a:solidFill>
                <a:latin typeface="+mj-lt"/>
                <a:ea typeface="Meiryo UI"/>
              </a:rPr>
              <a:t>Request</a:t>
            </a:r>
            <a:endParaRPr kumimoji="1" lang="ja-JP" altLang="en-US" sz="12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Meiryo UI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E670011-07FB-B724-9E9F-68DA87416B7D}"/>
              </a:ext>
            </a:extLst>
          </p:cNvPr>
          <p:cNvGrpSpPr/>
          <p:nvPr/>
        </p:nvGrpSpPr>
        <p:grpSpPr>
          <a:xfrm>
            <a:off x="1659399" y="4939419"/>
            <a:ext cx="1212800" cy="540000"/>
            <a:chOff x="1802726" y="2797501"/>
            <a:chExt cx="985534" cy="54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2274950-4B6C-E377-05E8-40CFF01623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02726" y="2797501"/>
              <a:ext cx="939583" cy="54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anchor="ctr" anchorCtr="1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ts val="60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1pPr>
              <a:lvl2pPr marL="450850" indent="-1968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●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2pPr>
              <a:lvl3pPr marL="846138" indent="-179388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3pPr>
              <a:lvl4pPr marL="1228725" indent="-1587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Font typeface="Arial" panose="020B0604020202020204" pitchFamily="34" charset="0"/>
                <a:buChar char="○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4pPr>
              <a:lvl5pPr marL="1617663" indent="-176213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5pPr>
              <a:lvl6pPr marL="2038350" indent="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None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7241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1813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6385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202C5C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F0EA7B8-78D8-D1B7-DEEC-D20BD0B900F1}"/>
                </a:ext>
              </a:extLst>
            </p:cNvPr>
            <p:cNvSpPr txBox="1"/>
            <p:nvPr/>
          </p:nvSpPr>
          <p:spPr>
            <a:xfrm>
              <a:off x="1802726" y="2879316"/>
              <a:ext cx="985534" cy="38472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950" b="1">
                  <a:latin typeface="+mj-lt"/>
                  <a:ea typeface="ＭＳ Ｐゴシック"/>
                </a:rPr>
                <a:t>Recommendation Model </a:t>
              </a:r>
              <a:endParaRPr lang="en-US" sz="950" b="1">
                <a:latin typeface="+mj-lt"/>
                <a:cs typeface="Segoe UI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685AFAC-BAE9-A032-CA2B-E35EC658CEA9}"/>
              </a:ext>
            </a:extLst>
          </p:cNvPr>
          <p:cNvGrpSpPr/>
          <p:nvPr/>
        </p:nvGrpSpPr>
        <p:grpSpPr>
          <a:xfrm>
            <a:off x="1704305" y="2450985"/>
            <a:ext cx="1060876" cy="540000"/>
            <a:chOff x="1942756" y="4849772"/>
            <a:chExt cx="939583" cy="540000"/>
          </a:xfrm>
        </p:grpSpPr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74CDB31E-922D-31D7-FABF-875F781CC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42756" y="4849772"/>
              <a:ext cx="939583" cy="54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anchor="ctr" anchorCtr="1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ts val="60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1pPr>
              <a:lvl2pPr marL="450850" indent="-1968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●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2pPr>
              <a:lvl3pPr marL="846138" indent="-179388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3pPr>
              <a:lvl4pPr marL="1228725" indent="-1587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Font typeface="Arial" panose="020B0604020202020204" pitchFamily="34" charset="0"/>
                <a:buChar char="○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4pPr>
              <a:lvl5pPr marL="1617663" indent="-176213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5pPr>
              <a:lvl6pPr marL="2038350" indent="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None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7241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1813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6385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202C5C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CA58EA0-07B7-4649-571A-DF9BBF854619}"/>
                </a:ext>
              </a:extLst>
            </p:cNvPr>
            <p:cNvSpPr txBox="1"/>
            <p:nvPr/>
          </p:nvSpPr>
          <p:spPr>
            <a:xfrm>
              <a:off x="2014657" y="4955402"/>
              <a:ext cx="812260" cy="32873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950" b="1">
                  <a:latin typeface="+mn-lt"/>
                  <a:ea typeface="+mn-ea"/>
                </a:rPr>
                <a:t>Market Analysi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1113738-7887-60D0-7869-447675CFC379}"/>
              </a:ext>
            </a:extLst>
          </p:cNvPr>
          <p:cNvGrpSpPr/>
          <p:nvPr/>
        </p:nvGrpSpPr>
        <p:grpSpPr>
          <a:xfrm>
            <a:off x="5670448" y="1827633"/>
            <a:ext cx="3965389" cy="1962704"/>
            <a:chOff x="5868847" y="4436066"/>
            <a:chExt cx="3670264" cy="1724349"/>
          </a:xfrm>
          <a:solidFill>
            <a:schemeClr val="bg1">
              <a:lumMod val="85000"/>
            </a:schemeClr>
          </a:solidFill>
        </p:grpSpPr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A698BE0B-B2CD-5B8D-4E14-2E7933625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8847" y="4436066"/>
              <a:ext cx="3670264" cy="17243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 anchor="ctr" anchorCtr="0">
              <a:no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E2E2026-11F3-7098-D46C-6B5ED8C4A21D}"/>
                </a:ext>
              </a:extLst>
            </p:cNvPr>
            <p:cNvSpPr txBox="1"/>
            <p:nvPr/>
          </p:nvSpPr>
          <p:spPr>
            <a:xfrm>
              <a:off x="6018835" y="4548851"/>
              <a:ext cx="3429965" cy="1302814"/>
            </a:xfrm>
            <a:prstGeom prst="rect">
              <a:avLst/>
            </a:prstGeom>
            <a:grpFill/>
          </p:spPr>
          <p:txBody>
            <a:bodyPr wrap="square" lIns="36000" tIns="36000" rIns="36000" bIns="0" rtlCol="0">
              <a:spAutoFit/>
            </a:bodyPr>
            <a:lstStyle/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Choosing the appropriate visualization tool, such as Excel, Python, or Power BI, that can handle the data size effectively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Identifying relevant features to be taken into consideration to carry out Descriptive Analysi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460C24-126A-398F-8C6A-1B3EF8F8FFD2}"/>
              </a:ext>
            </a:extLst>
          </p:cNvPr>
          <p:cNvGrpSpPr/>
          <p:nvPr/>
        </p:nvGrpSpPr>
        <p:grpSpPr>
          <a:xfrm>
            <a:off x="5675243" y="4018535"/>
            <a:ext cx="3965390" cy="2567977"/>
            <a:chOff x="5812171" y="1772545"/>
            <a:chExt cx="3670264" cy="2422502"/>
          </a:xfrm>
          <a:solidFill>
            <a:schemeClr val="bg1">
              <a:lumMod val="85000"/>
            </a:schemeClr>
          </a:solidFill>
        </p:grpSpPr>
        <p:sp>
          <p:nvSpPr>
            <p:cNvPr id="26" name="Rectangle 2">
              <a:extLst>
                <a:ext uri="{FF2B5EF4-FFF2-40B4-BE49-F238E27FC236}">
                  <a16:creationId xmlns:a16="http://schemas.microsoft.com/office/drawing/2014/main" id="{0D2DE8A7-BDA7-4ED2-1C6C-791E4E614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171" y="1772545"/>
              <a:ext cx="3670264" cy="24225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 anchor="ctr" anchorCtr="0">
              <a:no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2F47584-F8B0-207D-6B4A-73E0912BDECC}"/>
                </a:ext>
              </a:extLst>
            </p:cNvPr>
            <p:cNvSpPr txBox="1"/>
            <p:nvPr/>
          </p:nvSpPr>
          <p:spPr>
            <a:xfrm>
              <a:off x="5962161" y="1831132"/>
              <a:ext cx="3361408" cy="2160904"/>
            </a:xfrm>
            <a:prstGeom prst="rect">
              <a:avLst/>
            </a:prstGeom>
            <a:grpFill/>
          </p:spPr>
          <p:txBody>
            <a:bodyPr wrap="square" lIns="36000" tIns="36000" rIns="36000" bIns="0" rtlCol="0">
              <a:spAutoFit/>
            </a:bodyPr>
            <a:lstStyle/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Deciding which model, whether it's supervised or unsupervised, generated the most relevant results 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Identifying relevant features to be taken into consideration as input to develop the model 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Determining the evaluation criteria for assessing the accuracy and/or efficiency of the model</a:t>
              </a:r>
            </a:p>
          </p:txBody>
        </p:sp>
      </p:grpSp>
      <p:grpSp>
        <p:nvGrpSpPr>
          <p:cNvPr id="8" name="グループ化 3">
            <a:extLst>
              <a:ext uri="{FF2B5EF4-FFF2-40B4-BE49-F238E27FC236}">
                <a16:creationId xmlns:a16="http://schemas.microsoft.com/office/drawing/2014/main" id="{BCD0128E-64CA-3C79-1D81-15ACC1FB88E1}"/>
              </a:ext>
            </a:extLst>
          </p:cNvPr>
          <p:cNvGrpSpPr/>
          <p:nvPr/>
        </p:nvGrpSpPr>
        <p:grpSpPr>
          <a:xfrm>
            <a:off x="265366" y="1292200"/>
            <a:ext cx="5165340" cy="272286"/>
            <a:chOff x="1016089" y="1555862"/>
            <a:chExt cx="2016000" cy="227011"/>
          </a:xfrm>
        </p:grpSpPr>
        <p:sp>
          <p:nvSpPr>
            <p:cNvPr id="12" name="Rectangle 2">
              <a:extLst>
                <a:ext uri="{FF2B5EF4-FFF2-40B4-BE49-F238E27FC236}">
                  <a16:creationId xmlns:a16="http://schemas.microsoft.com/office/drawing/2014/main" id="{E5ABC21A-8FA3-5893-F2EE-B4EFE0F4B5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845" y="1555862"/>
              <a:ext cx="548497" cy="227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Key Question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3" name="直線コネクタ 4">
              <a:extLst>
                <a:ext uri="{FF2B5EF4-FFF2-40B4-BE49-F238E27FC236}">
                  <a16:creationId xmlns:a16="http://schemas.microsoft.com/office/drawing/2014/main" id="{768340C0-438A-B3CB-C351-78AB4D526442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グループ化 3">
            <a:extLst>
              <a:ext uri="{FF2B5EF4-FFF2-40B4-BE49-F238E27FC236}">
                <a16:creationId xmlns:a16="http://schemas.microsoft.com/office/drawing/2014/main" id="{7594CAD1-B92D-A7A2-97A9-A55A0F8A673A}"/>
              </a:ext>
            </a:extLst>
          </p:cNvPr>
          <p:cNvGrpSpPr/>
          <p:nvPr/>
        </p:nvGrpSpPr>
        <p:grpSpPr>
          <a:xfrm>
            <a:off x="5675243" y="1245555"/>
            <a:ext cx="3965389" cy="313350"/>
            <a:chOff x="1016089" y="1479030"/>
            <a:chExt cx="2016000" cy="303843"/>
          </a:xfrm>
        </p:grpSpPr>
        <p:sp>
          <p:nvSpPr>
            <p:cNvPr id="16" name="Rectangle 2">
              <a:extLst>
                <a:ext uri="{FF2B5EF4-FFF2-40B4-BE49-F238E27FC236}">
                  <a16:creationId xmlns:a16="http://schemas.microsoft.com/office/drawing/2014/main" id="{1CC40453-ADE6-CFAD-2243-040FEE9BD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148" y="1479030"/>
              <a:ext cx="693896" cy="303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Complexitie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4" name="直線コネクタ 4">
              <a:extLst>
                <a:ext uri="{FF2B5EF4-FFF2-40B4-BE49-F238E27FC236}">
                  <a16:creationId xmlns:a16="http://schemas.microsoft.com/office/drawing/2014/main" id="{06B53DBA-9D95-7BB2-0E1D-C2D1184E20BC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96197FC9-4EEB-D3A1-332E-EBE0A62ADBB2}"/>
              </a:ext>
            </a:extLst>
          </p:cNvPr>
          <p:cNvCxnSpPr>
            <a:cxnSpLocks/>
            <a:stCxn id="66" idx="1"/>
            <a:endCxn id="33" idx="1"/>
          </p:cNvCxnSpPr>
          <p:nvPr/>
        </p:nvCxnSpPr>
        <p:spPr bwMode="auto">
          <a:xfrm rot="10800000" flipH="1">
            <a:off x="1659399" y="2720985"/>
            <a:ext cx="44906" cy="2492610"/>
          </a:xfrm>
          <a:prstGeom prst="bentConnector3">
            <a:avLst>
              <a:gd name="adj1" fmla="val -386888"/>
            </a:avLst>
          </a:prstGeom>
          <a:solidFill>
            <a:srgbClr val="FF6600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793418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1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wer BI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 the main tool for the Market Analysis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3" name="グループ化 3">
            <a:extLst>
              <a:ext uri="{FF2B5EF4-FFF2-40B4-BE49-F238E27FC236}">
                <a16:creationId xmlns:a16="http://schemas.microsoft.com/office/drawing/2014/main" id="{9926A85E-D7FC-280D-52DE-4A3243CB423B}"/>
              </a:ext>
            </a:extLst>
          </p:cNvPr>
          <p:cNvGrpSpPr/>
          <p:nvPr/>
        </p:nvGrpSpPr>
        <p:grpSpPr>
          <a:xfrm>
            <a:off x="5488232" y="1322675"/>
            <a:ext cx="4110013" cy="318924"/>
            <a:chOff x="1016089" y="1463949"/>
            <a:chExt cx="2016000" cy="318924"/>
          </a:xfrm>
        </p:grpSpPr>
        <p:sp>
          <p:nvSpPr>
            <p:cNvPr id="64" name="Rectangle 2">
              <a:extLst>
                <a:ext uri="{FF2B5EF4-FFF2-40B4-BE49-F238E27FC236}">
                  <a16:creationId xmlns:a16="http://schemas.microsoft.com/office/drawing/2014/main" id="{1D98501A-3D36-FA7C-0A02-3030CC782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5078" y="1463949"/>
              <a:ext cx="358040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65" name="直線コネクタ 4">
              <a:extLst>
                <a:ext uri="{FF2B5EF4-FFF2-40B4-BE49-F238E27FC236}">
                  <a16:creationId xmlns:a16="http://schemas.microsoft.com/office/drawing/2014/main" id="{4856EA95-D067-055A-C97C-2806AA7B77BB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4" name="Google Shape;110;p15">
            <a:extLst>
              <a:ext uri="{FF2B5EF4-FFF2-40B4-BE49-F238E27FC236}">
                <a16:creationId xmlns:a16="http://schemas.microsoft.com/office/drawing/2014/main" id="{D6027A11-84C4-46AC-B46F-14EB08113BA3}"/>
              </a:ext>
            </a:extLst>
          </p:cNvPr>
          <p:cNvCxnSpPr>
            <a:cxnSpLocks/>
            <a:stCxn id="16" idx="6"/>
            <a:endCxn id="27" idx="1"/>
          </p:cNvCxnSpPr>
          <p:nvPr/>
        </p:nvCxnSpPr>
        <p:spPr>
          <a:xfrm flipV="1">
            <a:off x="3150068" y="2357164"/>
            <a:ext cx="538661" cy="245118"/>
          </a:xfrm>
          <a:prstGeom prst="straightConnector1">
            <a:avLst/>
          </a:prstGeom>
          <a:solidFill>
            <a:srgbClr val="FF6600"/>
          </a:solidFill>
          <a:ln w="19050" cap="flat" cmpd="sng">
            <a:solidFill>
              <a:schemeClr val="dk2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6" name="Google Shape;110;p15">
            <a:extLst>
              <a:ext uri="{FF2B5EF4-FFF2-40B4-BE49-F238E27FC236}">
                <a16:creationId xmlns:a16="http://schemas.microsoft.com/office/drawing/2014/main" id="{46E88740-EDE0-4CF7-1202-5AA9B3170A5F}"/>
              </a:ext>
            </a:extLst>
          </p:cNvPr>
          <p:cNvCxnSpPr>
            <a:cxnSpLocks/>
            <a:stCxn id="20" idx="6"/>
            <a:endCxn id="30" idx="1"/>
          </p:cNvCxnSpPr>
          <p:nvPr/>
        </p:nvCxnSpPr>
        <p:spPr>
          <a:xfrm flipV="1">
            <a:off x="2907033" y="4361238"/>
            <a:ext cx="868974" cy="190028"/>
          </a:xfrm>
          <a:prstGeom prst="straightConnector1">
            <a:avLst/>
          </a:prstGeom>
          <a:solidFill>
            <a:srgbClr val="FF6600"/>
          </a:solidFill>
          <a:ln w="19050" cap="flat" cmpd="sng">
            <a:solidFill>
              <a:schemeClr val="dk2"/>
            </a:solidFill>
            <a:prstDash val="solid"/>
            <a:round/>
            <a:headEnd type="oval" w="med" len="med"/>
            <a:tailEnd type="none" w="sm" len="sm"/>
          </a:ln>
        </p:spPr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BF2C67E-F728-CC48-7669-8DDB2F8040FC}"/>
              </a:ext>
            </a:extLst>
          </p:cNvPr>
          <p:cNvGrpSpPr/>
          <p:nvPr/>
        </p:nvGrpSpPr>
        <p:grpSpPr>
          <a:xfrm>
            <a:off x="307759" y="1960523"/>
            <a:ext cx="4853226" cy="4359413"/>
            <a:chOff x="489787" y="1524996"/>
            <a:chExt cx="5723931" cy="494111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3722C03-C863-B4F9-86A9-BB60B1DCED69}"/>
                </a:ext>
              </a:extLst>
            </p:cNvPr>
            <p:cNvGrpSpPr/>
            <p:nvPr/>
          </p:nvGrpSpPr>
          <p:grpSpPr>
            <a:xfrm>
              <a:off x="4553800" y="3702186"/>
              <a:ext cx="1659918" cy="1106299"/>
              <a:chOff x="4553800" y="3702186"/>
              <a:chExt cx="1659918" cy="1106299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0A11D17-7F57-0ED0-9FCB-C204BF102D43}"/>
                  </a:ext>
                </a:extLst>
              </p:cNvPr>
              <p:cNvSpPr/>
              <p:nvPr/>
            </p:nvSpPr>
            <p:spPr bwMode="auto">
              <a:xfrm>
                <a:off x="4553800" y="3720749"/>
                <a:ext cx="1575709" cy="1087736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285750" marR="0" indent="-28575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FC8D1AC-4671-93C7-7DE6-8A13DCE20D6A}"/>
                  </a:ext>
                </a:extLst>
              </p:cNvPr>
              <p:cNvSpPr txBox="1"/>
              <p:nvPr/>
            </p:nvSpPr>
            <p:spPr>
              <a:xfrm>
                <a:off x="4580265" y="3702186"/>
                <a:ext cx="1633453" cy="1087737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Region</a:t>
                </a: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lang="en-US" sz="1200">
                    <a:latin typeface="+mn-lt"/>
                    <a:ea typeface="+mn-ea"/>
                  </a:rPr>
                  <a:t>Genre</a:t>
                </a:r>
                <a:endParaRPr kumimoji="1" lang="en-US" sz="1200">
                  <a:latin typeface="+mn-lt"/>
                  <a:ea typeface="+mn-ea"/>
                </a:endParaRP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lang="en-US" sz="1200">
                    <a:latin typeface="+mn-lt"/>
                    <a:ea typeface="+mn-ea"/>
                  </a:rPr>
                  <a:t>Platform</a:t>
                </a: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Critic &amp; </a:t>
                </a:r>
                <a:r>
                  <a:rPr lang="en-US" sz="1200">
                    <a:latin typeface="+mn-lt"/>
                    <a:ea typeface="+mn-ea"/>
                  </a:rPr>
                  <a:t>User Scores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3C60A2D-BF86-F410-65F3-BA8B93B6B2C8}"/>
                </a:ext>
              </a:extLst>
            </p:cNvPr>
            <p:cNvGrpSpPr/>
            <p:nvPr/>
          </p:nvGrpSpPr>
          <p:grpSpPr>
            <a:xfrm>
              <a:off x="4477328" y="1651537"/>
              <a:ext cx="1652181" cy="646051"/>
              <a:chOff x="4477328" y="1651537"/>
              <a:chExt cx="1652181" cy="64605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7809CD80-B895-353D-3156-5D94648177E6}"/>
                  </a:ext>
                </a:extLst>
              </p:cNvPr>
              <p:cNvSpPr/>
              <p:nvPr/>
            </p:nvSpPr>
            <p:spPr bwMode="auto">
              <a:xfrm>
                <a:off x="4477328" y="1651537"/>
                <a:ext cx="1652181" cy="64605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C24B495-88E1-1516-863B-C1190DB770E7}"/>
                  </a:ext>
                </a:extLst>
              </p:cNvPr>
              <p:cNvSpPr txBox="1"/>
              <p:nvPr/>
            </p:nvSpPr>
            <p:spPr>
              <a:xfrm>
                <a:off x="4496056" y="1721896"/>
                <a:ext cx="1633453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228600" indent="-228600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Sales based on release year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7045649-1902-091A-B9DE-8CED36D2376E}"/>
                </a:ext>
              </a:extLst>
            </p:cNvPr>
            <p:cNvGrpSpPr/>
            <p:nvPr/>
          </p:nvGrpSpPr>
          <p:grpSpPr>
            <a:xfrm>
              <a:off x="2323278" y="1524996"/>
              <a:ext cx="1518749" cy="4895346"/>
              <a:chOff x="1752260" y="1109215"/>
              <a:chExt cx="1518749" cy="4895346"/>
            </a:xfrm>
          </p:grpSpPr>
          <p:cxnSp>
            <p:nvCxnSpPr>
              <p:cNvPr id="14" name="Google Shape;102;p15">
                <a:extLst>
                  <a:ext uri="{FF2B5EF4-FFF2-40B4-BE49-F238E27FC236}">
                    <a16:creationId xmlns:a16="http://schemas.microsoft.com/office/drawing/2014/main" id="{CE2CF16D-2329-27AF-A5F0-C9B7C8BD0064}"/>
                  </a:ext>
                </a:extLst>
              </p:cNvPr>
              <p:cNvCxnSpPr>
                <a:stCxn id="20" idx="6"/>
                <a:endCxn id="21" idx="6"/>
              </p:cNvCxnSpPr>
              <p:nvPr/>
            </p:nvCxnSpPr>
            <p:spPr>
              <a:xfrm flipH="1">
                <a:off x="2762971" y="4045657"/>
                <a:ext cx="221400" cy="1720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5" name="Google Shape;105;p15">
                <a:extLst>
                  <a:ext uri="{FF2B5EF4-FFF2-40B4-BE49-F238E27FC236}">
                    <a16:creationId xmlns:a16="http://schemas.microsoft.com/office/drawing/2014/main" id="{35E1681A-E4E2-B7B4-67A9-CD8247158856}"/>
                  </a:ext>
                </a:extLst>
              </p:cNvPr>
              <p:cNvCxnSpPr>
                <a:stCxn id="20" idx="2"/>
                <a:endCxn id="21" idx="2"/>
              </p:cNvCxnSpPr>
              <p:nvPr/>
            </p:nvCxnSpPr>
            <p:spPr>
              <a:xfrm>
                <a:off x="2045360" y="4045657"/>
                <a:ext cx="221400" cy="1720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sp>
            <p:nvSpPr>
              <p:cNvPr id="16" name="Google Shape;106;p15">
                <a:extLst>
                  <a:ext uri="{FF2B5EF4-FFF2-40B4-BE49-F238E27FC236}">
                    <a16:creationId xmlns:a16="http://schemas.microsoft.com/office/drawing/2014/main" id="{C78A05B0-E041-A78E-2C53-58390FD41AC8}"/>
                  </a:ext>
                </a:extLst>
              </p:cNvPr>
              <p:cNvSpPr/>
              <p:nvPr/>
            </p:nvSpPr>
            <p:spPr>
              <a:xfrm>
                <a:off x="1758723" y="1109215"/>
                <a:ext cx="1512286" cy="1454786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altLang="ja-JP" sz="1600">
                    <a:solidFill>
                      <a:schemeClr val="lt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Overview</a:t>
                </a:r>
                <a:endParaRPr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cxnSp>
            <p:nvCxnSpPr>
              <p:cNvPr id="17" name="Google Shape;107;p15">
                <a:extLst>
                  <a:ext uri="{FF2B5EF4-FFF2-40B4-BE49-F238E27FC236}">
                    <a16:creationId xmlns:a16="http://schemas.microsoft.com/office/drawing/2014/main" id="{0433B78F-6EC2-2500-DC59-BC3DA7F2D017}"/>
                  </a:ext>
                </a:extLst>
              </p:cNvPr>
              <p:cNvCxnSpPr>
                <a:endCxn id="20" idx="2"/>
              </p:cNvCxnSpPr>
              <p:nvPr/>
            </p:nvCxnSpPr>
            <p:spPr>
              <a:xfrm>
                <a:off x="1752260" y="1842457"/>
                <a:ext cx="293100" cy="2203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8" name="Google Shape;108;p15">
                <a:extLst>
                  <a:ext uri="{FF2B5EF4-FFF2-40B4-BE49-F238E27FC236}">
                    <a16:creationId xmlns:a16="http://schemas.microsoft.com/office/drawing/2014/main" id="{71E6E22C-A7E2-6E92-A0CE-59C2158645B0}"/>
                  </a:ext>
                </a:extLst>
              </p:cNvPr>
              <p:cNvCxnSpPr>
                <a:endCxn id="20" idx="6"/>
              </p:cNvCxnSpPr>
              <p:nvPr/>
            </p:nvCxnSpPr>
            <p:spPr>
              <a:xfrm flipH="1">
                <a:off x="2984371" y="1842457"/>
                <a:ext cx="280800" cy="2203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sp>
            <p:nvSpPr>
              <p:cNvPr id="19" name="Google Shape;109;p15">
                <a:extLst>
                  <a:ext uri="{FF2B5EF4-FFF2-40B4-BE49-F238E27FC236}">
                    <a16:creationId xmlns:a16="http://schemas.microsoft.com/office/drawing/2014/main" id="{EC7B7DFE-D06F-A915-BC6C-5602205BDA31}"/>
                  </a:ext>
                </a:extLst>
              </p:cNvPr>
              <p:cNvSpPr/>
              <p:nvPr/>
            </p:nvSpPr>
            <p:spPr>
              <a:xfrm rot="5400000">
                <a:off x="2398922" y="2450352"/>
                <a:ext cx="231884" cy="1367224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0" name="Google Shape;103;p15">
                <a:extLst>
                  <a:ext uri="{FF2B5EF4-FFF2-40B4-BE49-F238E27FC236}">
                    <a16:creationId xmlns:a16="http://schemas.microsoft.com/office/drawing/2014/main" id="{16CFF863-D9DF-1087-ED2A-46C51BCA62F2}"/>
                  </a:ext>
                </a:extLst>
              </p:cNvPr>
              <p:cNvSpPr/>
              <p:nvPr/>
            </p:nvSpPr>
            <p:spPr>
              <a:xfrm>
                <a:off x="2045360" y="3594003"/>
                <a:ext cx="939011" cy="903308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1" name="Google Shape;104;p15">
                <a:extLst>
                  <a:ext uri="{FF2B5EF4-FFF2-40B4-BE49-F238E27FC236}">
                    <a16:creationId xmlns:a16="http://schemas.microsoft.com/office/drawing/2014/main" id="{92D441FC-4914-B00D-963E-8AA1FB24CC77}"/>
                  </a:ext>
                </a:extLst>
              </p:cNvPr>
              <p:cNvSpPr/>
              <p:nvPr/>
            </p:nvSpPr>
            <p:spPr>
              <a:xfrm>
                <a:off x="2266808" y="5527313"/>
                <a:ext cx="496112" cy="477248"/>
              </a:xfrm>
              <a:prstGeom prst="ellipse">
                <a:avLst/>
              </a:prstGeom>
              <a:solidFill>
                <a:schemeClr val="accent2"/>
              </a:solidFill>
              <a:ln w="12700" cap="flat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111;p15">
                <a:extLst>
                  <a:ext uri="{FF2B5EF4-FFF2-40B4-BE49-F238E27FC236}">
                    <a16:creationId xmlns:a16="http://schemas.microsoft.com/office/drawing/2014/main" id="{88D70E2F-B16E-2F24-7DA1-89CD60A850ED}"/>
                  </a:ext>
                </a:extLst>
              </p:cNvPr>
              <p:cNvSpPr/>
              <p:nvPr/>
            </p:nvSpPr>
            <p:spPr>
              <a:xfrm rot="5400000">
                <a:off x="2409462" y="4573291"/>
                <a:ext cx="210804" cy="848938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3" name="Google Shape;117;p15">
                <a:extLst>
                  <a:ext uri="{FF2B5EF4-FFF2-40B4-BE49-F238E27FC236}">
                    <a16:creationId xmlns:a16="http://schemas.microsoft.com/office/drawing/2014/main" id="{72D1A6B6-15BA-27AC-E0BD-651D205D8433}"/>
                  </a:ext>
                </a:extLst>
              </p:cNvPr>
              <p:cNvSpPr/>
              <p:nvPr/>
            </p:nvSpPr>
            <p:spPr>
              <a:xfrm rot="5400000">
                <a:off x="2409462" y="4198987"/>
                <a:ext cx="210804" cy="933832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4" name="Google Shape;118;p15">
                <a:extLst>
                  <a:ext uri="{FF2B5EF4-FFF2-40B4-BE49-F238E27FC236}">
                    <a16:creationId xmlns:a16="http://schemas.microsoft.com/office/drawing/2014/main" id="{3E1FDA35-11F4-1A42-DFD1-7416EDE581F1}"/>
                  </a:ext>
                </a:extLst>
              </p:cNvPr>
              <p:cNvSpPr/>
              <p:nvPr/>
            </p:nvSpPr>
            <p:spPr>
              <a:xfrm rot="5400000">
                <a:off x="2409462" y="4969231"/>
                <a:ext cx="210804" cy="701602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BC3FE15-D73F-5735-2534-08BAD68DA7FE}"/>
                  </a:ext>
                </a:extLst>
              </p:cNvPr>
              <p:cNvSpPr txBox="1"/>
              <p:nvPr/>
            </p:nvSpPr>
            <p:spPr>
              <a:xfrm>
                <a:off x="2036929" y="3903543"/>
                <a:ext cx="983708" cy="25051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200">
                    <a:solidFill>
                      <a:schemeClr val="bg1"/>
                    </a:solidFill>
                    <a:latin typeface="+mn-lt"/>
                    <a:ea typeface="+mn-ea"/>
                  </a:rPr>
                  <a:t>Breakdown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24E97BD-2F8A-58C7-13C3-AF56C069B4A0}"/>
                  </a:ext>
                </a:extLst>
              </p:cNvPr>
              <p:cNvSpPr txBox="1"/>
              <p:nvPr/>
            </p:nvSpPr>
            <p:spPr>
              <a:xfrm>
                <a:off x="2225289" y="5634669"/>
                <a:ext cx="579149" cy="233067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100">
                    <a:solidFill>
                      <a:schemeClr val="tx2"/>
                    </a:solidFill>
                    <a:latin typeface="+mn-lt"/>
                    <a:ea typeface="+mn-ea"/>
                  </a:rPr>
                  <a:t>Insight</a:t>
                </a:r>
              </a:p>
            </p:txBody>
          </p:sp>
        </p:grp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4FBB6B39-AD64-B17B-27EA-B34F8344F3DA}"/>
                </a:ext>
              </a:extLst>
            </p:cNvPr>
            <p:cNvSpPr/>
            <p:nvPr/>
          </p:nvSpPr>
          <p:spPr bwMode="auto">
            <a:xfrm>
              <a:off x="1483328" y="1524996"/>
              <a:ext cx="783771" cy="4941118"/>
            </a:xfrm>
            <a:prstGeom prst="leftBrace">
              <a:avLst>
                <a:gd name="adj1" fmla="val 32963"/>
                <a:gd name="adj2" fmla="val 50000"/>
              </a:avLst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ＭＳ Ｐゴシック" pitchFamily="50" charset="-128"/>
                <a:ea typeface="ＭＳ Ｐゴシック" pitchFamily="50" charset="-128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2DA75B9-94AF-7A1B-A947-A8DBC4C9D989}"/>
                </a:ext>
              </a:extLst>
            </p:cNvPr>
            <p:cNvSpPr txBox="1"/>
            <p:nvPr/>
          </p:nvSpPr>
          <p:spPr>
            <a:xfrm>
              <a:off x="489787" y="3836502"/>
              <a:ext cx="967076" cy="274301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400" b="1">
                  <a:latin typeface="+mn-lt"/>
                  <a:ea typeface="+mn-ea"/>
                </a:rPr>
                <a:t>Power BI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EE86CB0-C548-B7D2-CD6A-B948E21F42D2}"/>
              </a:ext>
            </a:extLst>
          </p:cNvPr>
          <p:cNvSpPr txBox="1"/>
          <p:nvPr/>
        </p:nvSpPr>
        <p:spPr>
          <a:xfrm>
            <a:off x="6050844" y="3527756"/>
            <a:ext cx="3573143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Dataset included only the cumulative sales figures until the year 2020 creating a roadblock to analyze yearly sales growth trend</a:t>
            </a:r>
          </a:p>
        </p:txBody>
      </p:sp>
      <p:grpSp>
        <p:nvGrpSpPr>
          <p:cNvPr id="51" name="グループ化 3">
            <a:extLst>
              <a:ext uri="{FF2B5EF4-FFF2-40B4-BE49-F238E27FC236}">
                <a16:creationId xmlns:a16="http://schemas.microsoft.com/office/drawing/2014/main" id="{26524CE6-8814-F515-1317-BFD27BD0FF7E}"/>
              </a:ext>
            </a:extLst>
          </p:cNvPr>
          <p:cNvGrpSpPr/>
          <p:nvPr/>
        </p:nvGrpSpPr>
        <p:grpSpPr>
          <a:xfrm>
            <a:off x="358447" y="1322675"/>
            <a:ext cx="4802538" cy="318924"/>
            <a:chOff x="1016089" y="1463949"/>
            <a:chExt cx="2016000" cy="318924"/>
          </a:xfrm>
        </p:grpSpPr>
        <p:sp>
          <p:nvSpPr>
            <p:cNvPr id="52" name="Rectangle 2">
              <a:extLst>
                <a:ext uri="{FF2B5EF4-FFF2-40B4-BE49-F238E27FC236}">
                  <a16:creationId xmlns:a16="http://schemas.microsoft.com/office/drawing/2014/main" id="{C1753F8C-7FAD-84FA-DD94-C584FCCA8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9589" y="1463949"/>
              <a:ext cx="429014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Workflow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53" name="直線コネクタ 4">
              <a:extLst>
                <a:ext uri="{FF2B5EF4-FFF2-40B4-BE49-F238E27FC236}">
                  <a16:creationId xmlns:a16="http://schemas.microsoft.com/office/drawing/2014/main" id="{F0134942-17CA-7175-AB59-7101903CB246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FA8C965E-DF2C-E41E-7033-CF13F753DE62}"/>
              </a:ext>
            </a:extLst>
          </p:cNvPr>
          <p:cNvSpPr/>
          <p:nvPr/>
        </p:nvSpPr>
        <p:spPr bwMode="auto">
          <a:xfrm>
            <a:off x="5500667" y="3527756"/>
            <a:ext cx="452061" cy="106337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93BCBB8-9AE3-4E0D-F9A0-FB35A746A9A5}"/>
              </a:ext>
            </a:extLst>
          </p:cNvPr>
          <p:cNvSpPr/>
          <p:nvPr/>
        </p:nvSpPr>
        <p:spPr bwMode="auto">
          <a:xfrm>
            <a:off x="5508554" y="4784472"/>
            <a:ext cx="452061" cy="154445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2DE1757-EF86-D7ED-CD17-A56BAA1F52F5}"/>
              </a:ext>
            </a:extLst>
          </p:cNvPr>
          <p:cNvCxnSpPr/>
          <p:nvPr/>
        </p:nvCxnSpPr>
        <p:spPr bwMode="auto">
          <a:xfrm flipH="1">
            <a:off x="5488230" y="4687803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F87EE616-5E7B-DE17-B746-3F31899251CE}"/>
              </a:ext>
            </a:extLst>
          </p:cNvPr>
          <p:cNvSpPr txBox="1"/>
          <p:nvPr/>
        </p:nvSpPr>
        <p:spPr>
          <a:xfrm>
            <a:off x="6050844" y="4784473"/>
            <a:ext cx="3573143" cy="154445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Created 4 bins to group the data based on video game’s release years spanning from 1980 to 202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1980 - 199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1991 - 200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2001 - 201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2011 - 2020 </a:t>
            </a:r>
            <a:endParaRPr kumimoji="1" lang="en-US" sz="1400">
              <a:latin typeface="+mn-lt"/>
              <a:ea typeface="+mn-ea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7F38680-8E30-7D3A-5C9E-5853124FEDE7}"/>
              </a:ext>
            </a:extLst>
          </p:cNvPr>
          <p:cNvSpPr/>
          <p:nvPr/>
        </p:nvSpPr>
        <p:spPr bwMode="auto">
          <a:xfrm>
            <a:off x="5500667" y="1809569"/>
            <a:ext cx="452061" cy="152067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Purpose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CEC0DDB-32B2-0204-E1F3-3A0235132056}"/>
              </a:ext>
            </a:extLst>
          </p:cNvPr>
          <p:cNvCxnSpPr/>
          <p:nvPr/>
        </p:nvCxnSpPr>
        <p:spPr bwMode="auto">
          <a:xfrm flipH="1">
            <a:off x="5488230" y="3429001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C2B09971-54AF-516E-27D8-123A99FDEABA}"/>
              </a:ext>
            </a:extLst>
          </p:cNvPr>
          <p:cNvSpPr txBox="1"/>
          <p:nvPr/>
        </p:nvSpPr>
        <p:spPr>
          <a:xfrm>
            <a:off x="6050844" y="1814448"/>
            <a:ext cx="3573143" cy="132901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ower BI leveraged for data visualization through interactive dashboards to represent insights from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ower BI is a better tool than Excel in this scenario given its capability to effectively manage large datasets</a:t>
            </a:r>
          </a:p>
        </p:txBody>
      </p:sp>
    </p:spTree>
    <p:extLst>
      <p:ext uri="{BB962C8B-B14F-4D97-AF65-F5344CB8AC3E}">
        <p14:creationId xmlns:p14="http://schemas.microsoft.com/office/powerpoint/2010/main" val="1556697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: Market Analysis (2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rth America accounted for almost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lf of the Global Sale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il 2020 with games released between 2001-2010 having the highest sales amounting to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.6B unit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471992"/>
            <a:ext cx="4912832" cy="4408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   Others: Rest of the world, i.e., Africa, Asia excluding Japan, North America &amp; Europe excluding the E.U.</a:t>
            </a:r>
            <a:endParaRPr lang="ja-JP" altLang="en-US" sz="800"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79A1EED7-380D-38E4-7F5C-F94EF557B44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1623746"/>
                  </p:ext>
                </p:extLst>
              </p:nvPr>
            </p:nvGraphicFramePr>
            <p:xfrm>
              <a:off x="190500" y="1328226"/>
              <a:ext cx="9525000" cy="5109041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79A1EED7-380D-38E4-7F5C-F94EF557B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500" y="1328226"/>
                <a:ext cx="9525000" cy="510904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34381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59B02F-A25F-5CBE-F9DE-173393C92F2B}"/>
              </a:ext>
            </a:extLst>
          </p:cNvPr>
          <p:cNvSpPr/>
          <p:nvPr/>
        </p:nvSpPr>
        <p:spPr bwMode="auto">
          <a:xfrm>
            <a:off x="200944" y="1325771"/>
            <a:ext cx="9525001" cy="51114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3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ition from 2D graphics to 3D graphics in the late 90s resulted in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ponential growth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the Action genre from 167M in the 90s to 935M in the 2000s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570481"/>
            <a:ext cx="4912832" cy="3423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4" name="Add-in 3" title="Microsoft Power BI">
                <a:extLst>
                  <a:ext uri="{FF2B5EF4-FFF2-40B4-BE49-F238E27FC236}">
                    <a16:creationId xmlns:a16="http://schemas.microsoft.com/office/drawing/2014/main" id="{26CDDF6A-9D6C-18DA-5F64-CA71A3FDF9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2413706"/>
                  </p:ext>
                </p:extLst>
              </p:nvPr>
            </p:nvGraphicFramePr>
            <p:xfrm>
              <a:off x="190500" y="1325771"/>
              <a:ext cx="9525000" cy="5111496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Add-in 3" title="Microsoft Power BI">
                <a:extLst>
                  <a:ext uri="{FF2B5EF4-FFF2-40B4-BE49-F238E27FC236}">
                    <a16:creationId xmlns:a16="http://schemas.microsoft.com/office/drawing/2014/main" id="{26CDDF6A-9D6C-18DA-5F64-CA71A3FDF94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500" y="1325771"/>
                <a:ext cx="9525000" cy="511149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65658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4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wn of Gaming Consoles with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tensive graphics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D visualization capabilities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 the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te 90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ntributed to proliferation of console sales making arcade games obsolete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570481"/>
            <a:ext cx="4912832" cy="3423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9B087058-02CA-5635-505E-FC4918D2726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490200259"/>
                  </p:ext>
                </p:extLst>
              </p:nvPr>
            </p:nvGraphicFramePr>
            <p:xfrm>
              <a:off x="200946" y="1325771"/>
              <a:ext cx="9542494" cy="5111496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9B087058-02CA-5635-505E-FC4918D2726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0946" y="1325771"/>
                <a:ext cx="9542494" cy="511149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29486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cquisition &amp; Explor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ython as the main tool for data exploration and data preprocessing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94" name="グループ化 3">
            <a:extLst>
              <a:ext uri="{FF2B5EF4-FFF2-40B4-BE49-F238E27FC236}">
                <a16:creationId xmlns:a16="http://schemas.microsoft.com/office/drawing/2014/main" id="{ED4469D4-5FF3-49BB-AEA2-93163F9CEF1A}"/>
              </a:ext>
            </a:extLst>
          </p:cNvPr>
          <p:cNvGrpSpPr/>
          <p:nvPr/>
        </p:nvGrpSpPr>
        <p:grpSpPr>
          <a:xfrm>
            <a:off x="318039" y="1322675"/>
            <a:ext cx="4947643" cy="313350"/>
            <a:chOff x="1016089" y="1463949"/>
            <a:chExt cx="2016000" cy="318924"/>
          </a:xfrm>
        </p:grpSpPr>
        <p:sp>
          <p:nvSpPr>
            <p:cNvPr id="95" name="Rectangle 2">
              <a:extLst>
                <a:ext uri="{FF2B5EF4-FFF2-40B4-BE49-F238E27FC236}">
                  <a16:creationId xmlns:a16="http://schemas.microsoft.com/office/drawing/2014/main" id="{5C9D86F3-194F-0954-1D2E-97B26A6B9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963" y="1463949"/>
              <a:ext cx="434263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ata Flow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96" name="直線コネクタ 4">
              <a:extLst>
                <a:ext uri="{FF2B5EF4-FFF2-40B4-BE49-F238E27FC236}">
                  <a16:creationId xmlns:a16="http://schemas.microsoft.com/office/drawing/2014/main" id="{9B9208B1-75FF-3F85-4461-28FCBA733D46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26" name="グループ化 3">
            <a:extLst>
              <a:ext uri="{FF2B5EF4-FFF2-40B4-BE49-F238E27FC236}">
                <a16:creationId xmlns:a16="http://schemas.microsoft.com/office/drawing/2014/main" id="{C06F1783-9D32-11EC-0711-69DA16ABE135}"/>
              </a:ext>
            </a:extLst>
          </p:cNvPr>
          <p:cNvGrpSpPr/>
          <p:nvPr/>
        </p:nvGrpSpPr>
        <p:grpSpPr>
          <a:xfrm>
            <a:off x="5546371" y="1341779"/>
            <a:ext cx="4056285" cy="299819"/>
            <a:chOff x="1016089" y="1463949"/>
            <a:chExt cx="2016000" cy="318924"/>
          </a:xfrm>
        </p:grpSpPr>
        <p:sp>
          <p:nvSpPr>
            <p:cNvPr id="127" name="Rectangle 2">
              <a:extLst>
                <a:ext uri="{FF2B5EF4-FFF2-40B4-BE49-F238E27FC236}">
                  <a16:creationId xmlns:a16="http://schemas.microsoft.com/office/drawing/2014/main" id="{5C21D102-FC38-0AA8-BFA4-F93E93551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398" y="1463949"/>
              <a:ext cx="35139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28" name="直線コネクタ 4">
              <a:extLst>
                <a:ext uri="{FF2B5EF4-FFF2-40B4-BE49-F238E27FC236}">
                  <a16:creationId xmlns:a16="http://schemas.microsoft.com/office/drawing/2014/main" id="{591E55C6-E972-8843-6389-68408E406BF9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B703834-E084-41B9-AF35-C0FF489DF15E}"/>
              </a:ext>
            </a:extLst>
          </p:cNvPr>
          <p:cNvGrpSpPr/>
          <p:nvPr/>
        </p:nvGrpSpPr>
        <p:grpSpPr>
          <a:xfrm>
            <a:off x="303340" y="2034265"/>
            <a:ext cx="4962342" cy="3877531"/>
            <a:chOff x="325753" y="2034264"/>
            <a:chExt cx="4802539" cy="3877531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F968ACB3-714D-CC2B-6A25-6C4FFD756184}"/>
                </a:ext>
              </a:extLst>
            </p:cNvPr>
            <p:cNvGrpSpPr/>
            <p:nvPr/>
          </p:nvGrpSpPr>
          <p:grpSpPr>
            <a:xfrm>
              <a:off x="2448110" y="2034264"/>
              <a:ext cx="2680182" cy="3877531"/>
              <a:chOff x="2448110" y="2065899"/>
              <a:chExt cx="2680182" cy="3845896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25926E4D-C8B7-02AC-FAEE-34A048E92079}"/>
                  </a:ext>
                </a:extLst>
              </p:cNvPr>
              <p:cNvGrpSpPr/>
              <p:nvPr/>
            </p:nvGrpSpPr>
            <p:grpSpPr>
              <a:xfrm>
                <a:off x="2448110" y="2065899"/>
                <a:ext cx="2680182" cy="3845896"/>
                <a:chOff x="2448110" y="2065899"/>
                <a:chExt cx="2680182" cy="3845896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12B3C68-3149-EA51-FE6B-8CB5ADB1C7CF}"/>
                    </a:ext>
                  </a:extLst>
                </p:cNvPr>
                <p:cNvSpPr/>
                <p:nvPr/>
              </p:nvSpPr>
              <p:spPr bwMode="auto">
                <a:xfrm>
                  <a:off x="2448111" y="2065899"/>
                  <a:ext cx="2680181" cy="3845896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chemeClr val="tx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36000" tIns="36000" rIns="36000" bIns="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+mn-lt"/>
                    <a:ea typeface="+mn-ea"/>
                  </a:endParaRPr>
                </a:p>
              </p:txBody>
            </p: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B9B46C4F-369C-4CE5-A6F9-2695C2E44E5A}"/>
                    </a:ext>
                  </a:extLst>
                </p:cNvPr>
                <p:cNvSpPr txBox="1"/>
                <p:nvPr/>
              </p:nvSpPr>
              <p:spPr>
                <a:xfrm>
                  <a:off x="2448110" y="2077525"/>
                  <a:ext cx="982970" cy="159462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800" i="1">
                      <a:latin typeface="+mn-lt"/>
                      <a:ea typeface="+mn-ea"/>
                    </a:rPr>
                    <a:t>Data Exploration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29987A72-FCBC-C78F-AE17-524D2607CD84}"/>
                  </a:ext>
                </a:extLst>
              </p:cNvPr>
              <p:cNvGrpSpPr/>
              <p:nvPr/>
            </p:nvGrpSpPr>
            <p:grpSpPr>
              <a:xfrm>
                <a:off x="2483851" y="2953389"/>
                <a:ext cx="2617356" cy="2715556"/>
                <a:chOff x="2483851" y="2953389"/>
                <a:chExt cx="2617356" cy="2715556"/>
              </a:xfrm>
            </p:grpSpPr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21DFAD16-CB08-DE9A-76F8-B89B1F60D52B}"/>
                    </a:ext>
                  </a:extLst>
                </p:cNvPr>
                <p:cNvGrpSpPr/>
                <p:nvPr/>
              </p:nvGrpSpPr>
              <p:grpSpPr>
                <a:xfrm>
                  <a:off x="3985188" y="5200726"/>
                  <a:ext cx="1045262" cy="468219"/>
                  <a:chOff x="3985188" y="5200726"/>
                  <a:chExt cx="1045262" cy="468219"/>
                </a:xfrm>
              </p:grpSpPr>
              <p:sp>
                <p:nvSpPr>
                  <p:cNvPr id="53" name="Rectangle 52">
                    <a:extLst>
                      <a:ext uri="{FF2B5EF4-FFF2-40B4-BE49-F238E27FC236}">
                        <a16:creationId xmlns:a16="http://schemas.microsoft.com/office/drawing/2014/main" id="{501A5534-6B00-F762-7D4E-0BADDE3A51D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985188" y="5200726"/>
                    <a:ext cx="1045262" cy="296856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36000" tIns="36000" rIns="36000" bIns="0" numCol="1" rtlCol="0" anchor="ctr" anchorCtr="1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en-US" sz="1200" b="1" i="0" u="none" strike="noStrike" cap="none" normalizeH="0" baseline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58" name="TextBox 57">
                    <a:extLst>
                      <a:ext uri="{FF2B5EF4-FFF2-40B4-BE49-F238E27FC236}">
                        <a16:creationId xmlns:a16="http://schemas.microsoft.com/office/drawing/2014/main" id="{34005C2C-028D-04E3-D8F4-AF76A4B1C8CB}"/>
                      </a:ext>
                    </a:extLst>
                  </p:cNvPr>
                  <p:cNvSpPr txBox="1"/>
                  <p:nvPr/>
                </p:nvSpPr>
                <p:spPr>
                  <a:xfrm>
                    <a:off x="4058085" y="5201706"/>
                    <a:ext cx="899465" cy="467239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36000" rIns="36000" bIns="0" rtlCol="0">
                    <a:spAutoFit/>
                  </a:bodyPr>
                  <a:lstStyle/>
                  <a:p>
                    <a:pPr algn="ctr"/>
                    <a:r>
                      <a:rPr lang="en-US" sz="1400">
                        <a:latin typeface="+mn-lt"/>
                        <a:ea typeface="+mn-ea"/>
                      </a:rPr>
                      <a:t>Clean</a:t>
                    </a:r>
                    <a:r>
                      <a:rPr kumimoji="1" lang="en-US" sz="1400">
                        <a:latin typeface="+mn-lt"/>
                        <a:ea typeface="+mn-ea"/>
                      </a:rPr>
                      <a:t> Data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61A4336F-BA8E-D550-DA5C-F6D0978CD103}"/>
                    </a:ext>
                  </a:extLst>
                </p:cNvPr>
                <p:cNvGrpSpPr/>
                <p:nvPr/>
              </p:nvGrpSpPr>
              <p:grpSpPr>
                <a:xfrm>
                  <a:off x="2483851" y="2953389"/>
                  <a:ext cx="2617356" cy="1813259"/>
                  <a:chOff x="2483851" y="2953389"/>
                  <a:chExt cx="2617356" cy="1813259"/>
                </a:xfrm>
              </p:grpSpPr>
              <p:grpSp>
                <p:nvGrpSpPr>
                  <p:cNvPr id="6" name="Group 5">
                    <a:extLst>
                      <a:ext uri="{FF2B5EF4-FFF2-40B4-BE49-F238E27FC236}">
                        <a16:creationId xmlns:a16="http://schemas.microsoft.com/office/drawing/2014/main" id="{7FD4ED9B-3BD9-DF3D-FF76-0C9A91C85AC8}"/>
                      </a:ext>
                    </a:extLst>
                  </p:cNvPr>
                  <p:cNvGrpSpPr/>
                  <p:nvPr/>
                </p:nvGrpSpPr>
                <p:grpSpPr>
                  <a:xfrm>
                    <a:off x="2483851" y="2953389"/>
                    <a:ext cx="2617356" cy="1813259"/>
                    <a:chOff x="2578798" y="2872802"/>
                    <a:chExt cx="2617356" cy="1813259"/>
                  </a:xfrm>
                </p:grpSpPr>
                <p:sp>
                  <p:nvSpPr>
                    <p:cNvPr id="51" name="Rectangle 50">
                      <a:extLst>
                        <a:ext uri="{FF2B5EF4-FFF2-40B4-BE49-F238E27FC236}">
                          <a16:creationId xmlns:a16="http://schemas.microsoft.com/office/drawing/2014/main" id="{E5DCE7CD-4D4E-6F71-1ED4-3116BAFE78C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578798" y="2872802"/>
                      <a:ext cx="2617356" cy="1813259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7" name="TextBox 56">
                      <a:extLst>
                        <a:ext uri="{FF2B5EF4-FFF2-40B4-BE49-F238E27FC236}">
                          <a16:creationId xmlns:a16="http://schemas.microsoft.com/office/drawing/2014/main" id="{E7340A8F-EFAF-D11D-DB91-982240AE119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557486" y="2941344"/>
                      <a:ext cx="802531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Python</a:t>
                      </a:r>
                    </a:p>
                  </p:txBody>
                </p:sp>
              </p:grpSp>
              <p:grpSp>
                <p:nvGrpSpPr>
                  <p:cNvPr id="23" name="Group 22">
                    <a:extLst>
                      <a:ext uri="{FF2B5EF4-FFF2-40B4-BE49-F238E27FC236}">
                        <a16:creationId xmlns:a16="http://schemas.microsoft.com/office/drawing/2014/main" id="{DE10E3DC-EF70-1B1E-ED31-4CB855C10ACC}"/>
                      </a:ext>
                    </a:extLst>
                  </p:cNvPr>
                  <p:cNvGrpSpPr/>
                  <p:nvPr/>
                </p:nvGrpSpPr>
                <p:grpSpPr>
                  <a:xfrm>
                    <a:off x="2542731" y="3409689"/>
                    <a:ext cx="1101735" cy="1119639"/>
                    <a:chOff x="2542731" y="3409689"/>
                    <a:chExt cx="1101735" cy="1119639"/>
                  </a:xfrm>
                </p:grpSpPr>
                <p:sp>
                  <p:nvSpPr>
                    <p:cNvPr id="65" name="Rectangle 64">
                      <a:extLst>
                        <a:ext uri="{FF2B5EF4-FFF2-40B4-BE49-F238E27FC236}">
                          <a16:creationId xmlns:a16="http://schemas.microsoft.com/office/drawing/2014/main" id="{104CF63E-76E3-24B0-D541-30A12913A69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542731" y="3411144"/>
                      <a:ext cx="1037755" cy="1118184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67" name="TextBox 66">
                      <a:extLst>
                        <a:ext uri="{FF2B5EF4-FFF2-40B4-BE49-F238E27FC236}">
                          <a16:creationId xmlns:a16="http://schemas.microsoft.com/office/drawing/2014/main" id="{45E23E6B-EE20-53B3-7258-6302D1B2B9D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542731" y="3409689"/>
                      <a:ext cx="1101735" cy="590349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Pandas,</a:t>
                      </a:r>
                    </a:p>
                    <a:p>
                      <a:r>
                        <a:rPr lang="en-US" sz="1200" err="1">
                          <a:latin typeface="+mn-lt"/>
                          <a:ea typeface="+mn-ea"/>
                        </a:rPr>
                        <a:t>Matplot</a:t>
                      </a:r>
                      <a:r>
                        <a:rPr lang="en-US" sz="1200">
                          <a:latin typeface="+mn-lt"/>
                          <a:ea typeface="+mn-ea"/>
                        </a:rPr>
                        <a:t>, Seaborn</a:t>
                      </a:r>
                      <a:endParaRPr kumimoji="1" lang="en-US" sz="1200">
                        <a:latin typeface="+mn-lt"/>
                        <a:ea typeface="+mn-ea"/>
                      </a:endParaRPr>
                    </a:p>
                  </p:txBody>
                </p: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EA6D2C99-933E-9A59-5C21-3AE323C4EE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45248" y="4042363"/>
                      <a:ext cx="1018147" cy="436972"/>
                      <a:chOff x="2545248" y="4042363"/>
                      <a:chExt cx="1018147" cy="436972"/>
                    </a:xfrm>
                  </p:grpSpPr>
                  <p:sp>
                    <p:nvSpPr>
                      <p:cNvPr id="66" name="Rectangle 65">
                        <a:extLst>
                          <a:ext uri="{FF2B5EF4-FFF2-40B4-BE49-F238E27FC236}">
                            <a16:creationId xmlns:a16="http://schemas.microsoft.com/office/drawing/2014/main" id="{B2E74B05-C79B-BD7E-8A57-E8628EC41275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2569143" y="4073653"/>
                        <a:ext cx="970356" cy="405682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35" name="TextBox 34">
                        <a:extLst>
                          <a:ext uri="{FF2B5EF4-FFF2-40B4-BE49-F238E27FC236}">
                            <a16:creationId xmlns:a16="http://schemas.microsoft.com/office/drawing/2014/main" id="{AC9E11CE-AA4E-5386-609D-BE02B821CA0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545248" y="4042363"/>
                        <a:ext cx="1018147" cy="40568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Exploratory Data Analysis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  <p:grpSp>
                <p:nvGrpSpPr>
                  <p:cNvPr id="18" name="Group 17">
                    <a:extLst>
                      <a:ext uri="{FF2B5EF4-FFF2-40B4-BE49-F238E27FC236}">
                        <a16:creationId xmlns:a16="http://schemas.microsoft.com/office/drawing/2014/main" id="{AF8EB577-01E6-7FC2-3020-EDEAC661248D}"/>
                      </a:ext>
                    </a:extLst>
                  </p:cNvPr>
                  <p:cNvGrpSpPr/>
                  <p:nvPr/>
                </p:nvGrpSpPr>
                <p:grpSpPr>
                  <a:xfrm>
                    <a:off x="3985188" y="3402016"/>
                    <a:ext cx="1101735" cy="1127312"/>
                    <a:chOff x="3985188" y="3402016"/>
                    <a:chExt cx="1101735" cy="1127312"/>
                  </a:xfrm>
                </p:grpSpPr>
                <p:sp>
                  <p:nvSpPr>
                    <p:cNvPr id="45" name="Rectangle 44">
                      <a:extLst>
                        <a:ext uri="{FF2B5EF4-FFF2-40B4-BE49-F238E27FC236}">
                          <a16:creationId xmlns:a16="http://schemas.microsoft.com/office/drawing/2014/main" id="{2FEEC535-D9B3-0E08-34B0-80D250C1575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985188" y="3409689"/>
                      <a:ext cx="1045261" cy="111963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46" name="TextBox 45">
                      <a:extLst>
                        <a:ext uri="{FF2B5EF4-FFF2-40B4-BE49-F238E27FC236}">
                          <a16:creationId xmlns:a16="http://schemas.microsoft.com/office/drawing/2014/main" id="{2F4F2E94-F516-12F0-56B6-88EC9D31EEE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85188" y="3402016"/>
                      <a:ext cx="1101735" cy="5855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Pandas, </a:t>
                      </a:r>
                      <a:r>
                        <a:rPr lang="en-US" sz="1200" err="1">
                          <a:latin typeface="+mn-lt"/>
                          <a:ea typeface="+mn-ea"/>
                        </a:rPr>
                        <a:t>Numpy</a:t>
                      </a:r>
                      <a:r>
                        <a:rPr lang="en-US" sz="1200">
                          <a:latin typeface="+mn-lt"/>
                          <a:ea typeface="+mn-ea"/>
                        </a:rPr>
                        <a:t>,</a:t>
                      </a:r>
                    </a:p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Sklearn</a:t>
                      </a:r>
                      <a:endParaRPr kumimoji="1" lang="en-US" sz="1200">
                        <a:latin typeface="+mn-lt"/>
                        <a:ea typeface="+mn-ea"/>
                      </a:endParaRPr>
                    </a:p>
                  </p:txBody>
                </p:sp>
                <p:grpSp>
                  <p:nvGrpSpPr>
                    <p:cNvPr id="16" name="Group 15">
                      <a:extLst>
                        <a:ext uri="{FF2B5EF4-FFF2-40B4-BE49-F238E27FC236}">
                          <a16:creationId xmlns:a16="http://schemas.microsoft.com/office/drawing/2014/main" id="{BFD282B8-B98C-0974-1764-7CE4B24A90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011233" y="4042359"/>
                      <a:ext cx="1052975" cy="436974"/>
                      <a:chOff x="4011233" y="4042359"/>
                      <a:chExt cx="1052975" cy="436974"/>
                    </a:xfrm>
                  </p:grpSpPr>
                  <p:sp>
                    <p:nvSpPr>
                      <p:cNvPr id="48" name="Rectangle 47">
                        <a:extLst>
                          <a:ext uri="{FF2B5EF4-FFF2-40B4-BE49-F238E27FC236}">
                            <a16:creationId xmlns:a16="http://schemas.microsoft.com/office/drawing/2014/main" id="{62F57B32-AC43-F98A-B78F-4B64A5038B5A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033944" y="4073650"/>
                        <a:ext cx="954324" cy="40568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49" name="TextBox 48">
                        <a:extLst>
                          <a:ext uri="{FF2B5EF4-FFF2-40B4-BE49-F238E27FC236}">
                            <a16:creationId xmlns:a16="http://schemas.microsoft.com/office/drawing/2014/main" id="{B919168B-FEB3-0904-995B-4CDAF0DB151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011233" y="4042359"/>
                        <a:ext cx="1052975" cy="40568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Data </a:t>
                        </a:r>
                      </a:p>
                      <a:p>
                        <a:r>
                          <a:rPr kumimoji="1"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Preprocessing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CFA39D07-0D62-A0E5-D725-933874AD631B}"/>
                      </a:ext>
                    </a:extLst>
                  </p:cNvPr>
                  <p:cNvGrpSpPr/>
                  <p:nvPr/>
                </p:nvGrpSpPr>
                <p:grpSpPr>
                  <a:xfrm>
                    <a:off x="3634647" y="3821012"/>
                    <a:ext cx="317788" cy="452784"/>
                    <a:chOff x="3634647" y="3821012"/>
                    <a:chExt cx="317788" cy="452784"/>
                  </a:xfrm>
                </p:grpSpPr>
                <p:sp>
                  <p:nvSpPr>
                    <p:cNvPr id="91" name="Arc 31">
                      <a:extLst>
                        <a:ext uri="{FF2B5EF4-FFF2-40B4-BE49-F238E27FC236}">
                          <a16:creationId xmlns:a16="http://schemas.microsoft.com/office/drawing/2014/main" id="{5DE652F2-3C31-3D3A-9A98-65EDE50A06D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flipV="1">
                      <a:off x="3634647" y="4131625"/>
                      <a:ext cx="317788" cy="142171"/>
                    </a:xfrm>
                    <a:custGeom>
                      <a:avLst/>
                      <a:gdLst>
                        <a:gd name="T0" fmla="*/ 0 w 43200"/>
                        <a:gd name="T1" fmla="*/ 0 h 21680"/>
                        <a:gd name="T2" fmla="*/ 0 w 43200"/>
                        <a:gd name="T3" fmla="*/ 0 h 21680"/>
                        <a:gd name="T4" fmla="*/ 0 w 43200"/>
                        <a:gd name="T5" fmla="*/ 0 h 21680"/>
                        <a:gd name="T6" fmla="*/ 0 60000 65536"/>
                        <a:gd name="T7" fmla="*/ 0 60000 65536"/>
                        <a:gd name="T8" fmla="*/ 0 60000 65536"/>
                        <a:gd name="T9" fmla="*/ 0 w 43200"/>
                        <a:gd name="T10" fmla="*/ 0 h 21680"/>
                        <a:gd name="T11" fmla="*/ 43200 w 43200"/>
                        <a:gd name="T12" fmla="*/ 21680 h 2168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3200" h="21680" fill="none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</a:path>
                        <a:path w="43200" h="21680" stroke="0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  <a:lnTo>
                            <a:pt x="21600" y="21600"/>
                          </a:lnTo>
                          <a:lnTo>
                            <a:pt x="0" y="21679"/>
                          </a:lnTo>
                          <a:close/>
                        </a:path>
                      </a:pathLst>
                    </a:custGeom>
                    <a:noFill/>
                    <a:ln w="28575">
                      <a:solidFill>
                        <a:schemeClr val="bg2">
                          <a:lumMod val="90000"/>
                        </a:schemeClr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 wrap="none" lIns="180000" tIns="72000" rIns="180000" bIns="72000" anchor="ctr"/>
                    <a:lstStyle/>
                    <a:p>
                      <a:pPr>
                        <a:defRPr/>
                      </a:pPr>
                      <a:endParaRPr lang="ja-JP" altLang="en-US">
                        <a:latin typeface="+mn-ea"/>
                        <a:ea typeface="+mn-ea"/>
                      </a:endParaRPr>
                    </a:p>
                  </p:txBody>
                </p:sp>
                <p:sp>
                  <p:nvSpPr>
                    <p:cNvPr id="92" name="Arc 32">
                      <a:extLst>
                        <a:ext uri="{FF2B5EF4-FFF2-40B4-BE49-F238E27FC236}">
                          <a16:creationId xmlns:a16="http://schemas.microsoft.com/office/drawing/2014/main" id="{3AA2A16C-491E-8787-B067-C6C2F9E4001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flipH="1">
                      <a:off x="3634647" y="3821012"/>
                      <a:ext cx="317788" cy="142171"/>
                    </a:xfrm>
                    <a:custGeom>
                      <a:avLst/>
                      <a:gdLst>
                        <a:gd name="T0" fmla="*/ 0 w 43200"/>
                        <a:gd name="T1" fmla="*/ 0 h 21680"/>
                        <a:gd name="T2" fmla="*/ 0 w 43200"/>
                        <a:gd name="T3" fmla="*/ 0 h 21680"/>
                        <a:gd name="T4" fmla="*/ 0 w 43200"/>
                        <a:gd name="T5" fmla="*/ 0 h 21680"/>
                        <a:gd name="T6" fmla="*/ 0 60000 65536"/>
                        <a:gd name="T7" fmla="*/ 0 60000 65536"/>
                        <a:gd name="T8" fmla="*/ 0 60000 65536"/>
                        <a:gd name="T9" fmla="*/ 0 w 43200"/>
                        <a:gd name="T10" fmla="*/ 0 h 21680"/>
                        <a:gd name="T11" fmla="*/ 43200 w 43200"/>
                        <a:gd name="T12" fmla="*/ 21680 h 2168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3200" h="21680" fill="none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</a:path>
                        <a:path w="43200" h="21680" stroke="0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  <a:lnTo>
                            <a:pt x="21600" y="21600"/>
                          </a:lnTo>
                          <a:lnTo>
                            <a:pt x="0" y="21679"/>
                          </a:lnTo>
                          <a:close/>
                        </a:path>
                      </a:pathLst>
                    </a:custGeom>
                    <a:noFill/>
                    <a:ln w="28575">
                      <a:solidFill>
                        <a:schemeClr val="bg2">
                          <a:lumMod val="90000"/>
                        </a:schemeClr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 wrap="none" lIns="180000" tIns="72000" rIns="180000" bIns="72000" anchor="ctr"/>
                    <a:lstStyle/>
                    <a:p>
                      <a:pPr>
                        <a:defRPr/>
                      </a:pPr>
                      <a:endParaRPr lang="ja-JP" altLang="en-US">
                        <a:latin typeface="+mn-ea"/>
                        <a:ea typeface="+mn-ea"/>
                      </a:endParaRPr>
                    </a:p>
                  </p:txBody>
                </p:sp>
              </p:grpSp>
              <p:pic>
                <p:nvPicPr>
                  <p:cNvPr id="124" name="Graphic 123" descr="Badge 3 outline">
                    <a:extLst>
                      <a:ext uri="{FF2B5EF4-FFF2-40B4-BE49-F238E27FC236}">
                        <a16:creationId xmlns:a16="http://schemas.microsoft.com/office/drawing/2014/main" id="{DCF01018-7B83-E908-5BBC-C2033BFD8B8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80206" y="3540633"/>
                    <a:ext cx="203083" cy="220625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25" name="Graphic 124" descr="Badge 4 outline">
                  <a:extLst>
                    <a:ext uri="{FF2B5EF4-FFF2-40B4-BE49-F238E27FC236}">
                      <a16:creationId xmlns:a16="http://schemas.microsoft.com/office/drawing/2014/main" id="{583508FE-0964-F111-1B7A-7A3A85195A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44212" y="4854773"/>
                  <a:ext cx="191232" cy="207751"/>
                </a:xfrm>
                <a:prstGeom prst="rect">
                  <a:avLst/>
                </a:prstGeom>
              </p:spPr>
            </p:pic>
            <p:cxnSp>
              <p:nvCxnSpPr>
                <p:cNvPr id="85" name="Straight Arrow Connector 84">
                  <a:extLst>
                    <a:ext uri="{FF2B5EF4-FFF2-40B4-BE49-F238E27FC236}">
                      <a16:creationId xmlns:a16="http://schemas.microsoft.com/office/drawing/2014/main" id="{E612D442-1E02-D7BB-53D9-E22487A18832}"/>
                    </a:ext>
                  </a:extLst>
                </p:cNvPr>
                <p:cNvCxnSpPr>
                  <a:cxnSpLocks/>
                  <a:stCxn id="45" idx="2"/>
                  <a:endCxn id="58" idx="0"/>
                </p:cNvCxnSpPr>
                <p:nvPr/>
              </p:nvCxnSpPr>
              <p:spPr bwMode="auto">
                <a:xfrm flipH="1">
                  <a:off x="4507818" y="4529328"/>
                  <a:ext cx="1" cy="672378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A408EC0-C503-1184-4C19-7700667CDAE2}"/>
                </a:ext>
              </a:extLst>
            </p:cNvPr>
            <p:cNvGrpSpPr/>
            <p:nvPr/>
          </p:nvGrpSpPr>
          <p:grpSpPr>
            <a:xfrm>
              <a:off x="325753" y="2034264"/>
              <a:ext cx="2122358" cy="3877531"/>
              <a:chOff x="325753" y="2034264"/>
              <a:chExt cx="2122358" cy="3877531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AA1920E-71BC-D034-6F07-40DB73F86CA1}"/>
                  </a:ext>
                </a:extLst>
              </p:cNvPr>
              <p:cNvGrpSpPr/>
              <p:nvPr/>
            </p:nvGrpSpPr>
            <p:grpSpPr>
              <a:xfrm>
                <a:off x="325753" y="2034264"/>
                <a:ext cx="1979855" cy="3877531"/>
                <a:chOff x="325753" y="2034264"/>
                <a:chExt cx="1979855" cy="3877531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98F72F23-F95B-EBEC-C183-63CBF3A1929F}"/>
                    </a:ext>
                  </a:extLst>
                </p:cNvPr>
                <p:cNvSpPr/>
                <p:nvPr/>
              </p:nvSpPr>
              <p:spPr bwMode="auto">
                <a:xfrm>
                  <a:off x="325753" y="2034264"/>
                  <a:ext cx="1979855" cy="3877531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chemeClr val="tx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36000" tIns="36000" rIns="36000" bIns="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+mn-lt"/>
                    <a:ea typeface="+mn-ea"/>
                  </a:endParaRPr>
                </a:p>
              </p:txBody>
            </p: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B56EAF3C-3E2E-DFA6-05BA-49C2E85265D9}"/>
                    </a:ext>
                  </a:extLst>
                </p:cNvPr>
                <p:cNvSpPr txBox="1"/>
                <p:nvPr/>
              </p:nvSpPr>
              <p:spPr>
                <a:xfrm>
                  <a:off x="356682" y="2045891"/>
                  <a:ext cx="982970" cy="159462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800" i="1">
                      <a:latin typeface="+mn-lt"/>
                      <a:ea typeface="+mn-ea"/>
                    </a:rPr>
                    <a:t>Data Acquisition</a:t>
                  </a: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02226CA-2C17-74FC-F46B-0595E2C6DD2B}"/>
                  </a:ext>
                </a:extLst>
              </p:cNvPr>
              <p:cNvGrpSpPr/>
              <p:nvPr/>
            </p:nvGrpSpPr>
            <p:grpSpPr>
              <a:xfrm>
                <a:off x="403950" y="2221816"/>
                <a:ext cx="2044161" cy="3057188"/>
                <a:chOff x="403950" y="2221816"/>
                <a:chExt cx="2044161" cy="3057188"/>
              </a:xfrm>
            </p:grpSpPr>
            <p:cxnSp>
              <p:nvCxnSpPr>
                <p:cNvPr id="25" name="Straight Arrow Connector 24">
                  <a:extLst>
                    <a:ext uri="{FF2B5EF4-FFF2-40B4-BE49-F238E27FC236}">
                      <a16:creationId xmlns:a16="http://schemas.microsoft.com/office/drawing/2014/main" id="{2926DB7F-176C-D217-F2D9-B3D4A36DA5CC}"/>
                    </a:ext>
                  </a:extLst>
                </p:cNvPr>
                <p:cNvCxnSpPr/>
                <p:nvPr/>
              </p:nvCxnSpPr>
              <p:spPr bwMode="auto">
                <a:xfrm>
                  <a:off x="1709007" y="3656290"/>
                  <a:ext cx="739104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101" name="Graphic 100" descr="Badge outline">
                  <a:extLst>
                    <a:ext uri="{FF2B5EF4-FFF2-40B4-BE49-F238E27FC236}">
                      <a16:creationId xmlns:a16="http://schemas.microsoft.com/office/drawing/2014/main" id="{9ADC0406-9B86-9505-BC21-9377AAA1F8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00062" y="3409689"/>
                  <a:ext cx="204201" cy="221840"/>
                </a:xfrm>
                <a:prstGeom prst="rect">
                  <a:avLst/>
                </a:prstGeom>
              </p:spPr>
            </p:pic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47E5B1DF-C59A-3059-2506-EC4AF3F71672}"/>
                    </a:ext>
                  </a:extLst>
                </p:cNvPr>
                <p:cNvGrpSpPr/>
                <p:nvPr/>
              </p:nvGrpSpPr>
              <p:grpSpPr>
                <a:xfrm>
                  <a:off x="403950" y="2221816"/>
                  <a:ext cx="1820809" cy="3057188"/>
                  <a:chOff x="403950" y="2221816"/>
                  <a:chExt cx="1820809" cy="3057188"/>
                </a:xfrm>
              </p:grpSpPr>
              <p:pic>
                <p:nvPicPr>
                  <p:cNvPr id="100" name="Graphic 99" descr="Badge 1 outline">
                    <a:extLst>
                      <a:ext uri="{FF2B5EF4-FFF2-40B4-BE49-F238E27FC236}">
                        <a16:creationId xmlns:a16="http://schemas.microsoft.com/office/drawing/2014/main" id="{44D523FE-BA79-FE17-CD86-2175F39520D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50550" y="2908305"/>
                    <a:ext cx="189866" cy="206267"/>
                  </a:xfrm>
                  <a:prstGeom prst="rect">
                    <a:avLst/>
                  </a:prstGeom>
                </p:spPr>
              </p:pic>
              <p:grpSp>
                <p:nvGrpSpPr>
                  <p:cNvPr id="38" name="Group 37">
                    <a:extLst>
                      <a:ext uri="{FF2B5EF4-FFF2-40B4-BE49-F238E27FC236}">
                        <a16:creationId xmlns:a16="http://schemas.microsoft.com/office/drawing/2014/main" id="{9C49C10D-2060-3731-63CA-587BF2333671}"/>
                      </a:ext>
                    </a:extLst>
                  </p:cNvPr>
                  <p:cNvGrpSpPr/>
                  <p:nvPr/>
                </p:nvGrpSpPr>
                <p:grpSpPr>
                  <a:xfrm>
                    <a:off x="403950" y="2221816"/>
                    <a:ext cx="847655" cy="307259"/>
                    <a:chOff x="403950" y="2221816"/>
                    <a:chExt cx="847655" cy="307259"/>
                  </a:xfrm>
                </p:grpSpPr>
                <p:sp>
                  <p:nvSpPr>
                    <p:cNvPr id="4" name="Rectangle 3">
                      <a:extLst>
                        <a:ext uri="{FF2B5EF4-FFF2-40B4-BE49-F238E27FC236}">
                          <a16:creationId xmlns:a16="http://schemas.microsoft.com/office/drawing/2014/main" id="{3E0624C2-3CA4-C025-005E-D6AA6CA169D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403950" y="2221816"/>
                      <a:ext cx="847655" cy="30725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4" name="TextBox 53">
                      <a:extLst>
                        <a:ext uri="{FF2B5EF4-FFF2-40B4-BE49-F238E27FC236}">
                          <a16:creationId xmlns:a16="http://schemas.microsoft.com/office/drawing/2014/main" id="{7CF55A49-EB64-CE0C-E4F2-6965442B000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60092" y="2221816"/>
                      <a:ext cx="754013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pPr algn="ctr"/>
                      <a:r>
                        <a:rPr kumimoji="1" lang="en-US" sz="1400">
                          <a:latin typeface="+mn-lt"/>
                          <a:ea typeface="+mn-ea"/>
                        </a:rPr>
                        <a:t>Kaggle</a:t>
                      </a:r>
                    </a:p>
                  </p:txBody>
                </p:sp>
              </p:grpSp>
              <p:grpSp>
                <p:nvGrpSpPr>
                  <p:cNvPr id="39" name="Group 38">
                    <a:extLst>
                      <a:ext uri="{FF2B5EF4-FFF2-40B4-BE49-F238E27FC236}">
                        <a16:creationId xmlns:a16="http://schemas.microsoft.com/office/drawing/2014/main" id="{7832AB89-9D1A-5890-35AE-8ABC8F34B3EF}"/>
                      </a:ext>
                    </a:extLst>
                  </p:cNvPr>
                  <p:cNvGrpSpPr/>
                  <p:nvPr/>
                </p:nvGrpSpPr>
                <p:grpSpPr>
                  <a:xfrm>
                    <a:off x="1356608" y="2221816"/>
                    <a:ext cx="868151" cy="307259"/>
                    <a:chOff x="1356608" y="2221816"/>
                    <a:chExt cx="868151" cy="307259"/>
                  </a:xfrm>
                </p:grpSpPr>
                <p:sp>
                  <p:nvSpPr>
                    <p:cNvPr id="3" name="Rectangle 2">
                      <a:extLst>
                        <a:ext uri="{FF2B5EF4-FFF2-40B4-BE49-F238E27FC236}">
                          <a16:creationId xmlns:a16="http://schemas.microsoft.com/office/drawing/2014/main" id="{97633B9B-F889-5D5E-0E5B-0D2A16FE163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56608" y="2221816"/>
                      <a:ext cx="847655" cy="30725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5" name="TextBox 54">
                      <a:extLst>
                        <a:ext uri="{FF2B5EF4-FFF2-40B4-BE49-F238E27FC236}">
                          <a16:creationId xmlns:a16="http://schemas.microsoft.com/office/drawing/2014/main" id="{9C35F43C-13D2-BAD5-DDF4-367EDC895F1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369741" y="2231773"/>
                      <a:ext cx="855018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VGChartz</a:t>
                      </a:r>
                    </a:p>
                  </p:txBody>
                </p:sp>
              </p:grpSp>
              <p:cxnSp>
                <p:nvCxnSpPr>
                  <p:cNvPr id="10" name="Straight Arrow Connector 9">
                    <a:extLst>
                      <a:ext uri="{FF2B5EF4-FFF2-40B4-BE49-F238E27FC236}">
                        <a16:creationId xmlns:a16="http://schemas.microsoft.com/office/drawing/2014/main" id="{B6A2670B-2D4F-23D0-CDED-F5254364272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74064" y="2762861"/>
                    <a:ext cx="0" cy="541528"/>
                  </a:xfrm>
                  <a:prstGeom prst="straightConnector1">
                    <a:avLst/>
                  </a:prstGeom>
                  <a:solidFill>
                    <a:srgbClr val="FF6600"/>
                  </a:solidFill>
                  <a:ln w="190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triangle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" name="Connector: Elbow 13">
                    <a:extLst>
                      <a:ext uri="{FF2B5EF4-FFF2-40B4-BE49-F238E27FC236}">
                        <a16:creationId xmlns:a16="http://schemas.microsoft.com/office/drawing/2014/main" id="{3BECD545-7D98-CF75-EA3D-05B7FE0577A0}"/>
                      </a:ext>
                    </a:extLst>
                  </p:cNvPr>
                  <p:cNvCxnSpPr>
                    <a:cxnSpLocks/>
                    <a:stCxn id="4" idx="2"/>
                    <a:endCxn id="3" idx="2"/>
                  </p:cNvCxnSpPr>
                  <p:nvPr/>
                </p:nvCxnSpPr>
                <p:spPr bwMode="auto">
                  <a:xfrm rot="16200000" flipH="1">
                    <a:off x="1304107" y="2052746"/>
                    <a:ext cx="12700" cy="952658"/>
                  </a:xfrm>
                  <a:prstGeom prst="bentConnector3">
                    <a:avLst>
                      <a:gd name="adj1" fmla="val 1800000"/>
                    </a:avLst>
                  </a:prstGeom>
                  <a:solidFill>
                    <a:srgbClr val="FF6600"/>
                  </a:solidFill>
                  <a:ln w="190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grpSp>
                <p:nvGrpSpPr>
                  <p:cNvPr id="37" name="Group 36">
                    <a:extLst>
                      <a:ext uri="{FF2B5EF4-FFF2-40B4-BE49-F238E27FC236}">
                        <a16:creationId xmlns:a16="http://schemas.microsoft.com/office/drawing/2014/main" id="{9313089D-72A8-E7B2-FE75-D9E8382E2036}"/>
                      </a:ext>
                    </a:extLst>
                  </p:cNvPr>
                  <p:cNvGrpSpPr/>
                  <p:nvPr/>
                </p:nvGrpSpPr>
                <p:grpSpPr>
                  <a:xfrm>
                    <a:off x="613610" y="3330842"/>
                    <a:ext cx="1301374" cy="1948162"/>
                    <a:chOff x="613610" y="3330842"/>
                    <a:chExt cx="1301374" cy="1948162"/>
                  </a:xfrm>
                </p:grpSpPr>
                <p:sp>
                  <p:nvSpPr>
                    <p:cNvPr id="50" name="Rectangle 49">
                      <a:extLst>
                        <a:ext uri="{FF2B5EF4-FFF2-40B4-BE49-F238E27FC236}">
                          <a16:creationId xmlns:a16="http://schemas.microsoft.com/office/drawing/2014/main" id="{9057268B-433B-A065-C201-B11D416E8BD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13610" y="3330842"/>
                      <a:ext cx="1268838" cy="1948162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6" name="TextBox 55">
                      <a:extLst>
                        <a:ext uri="{FF2B5EF4-FFF2-40B4-BE49-F238E27FC236}">
                          <a16:creationId xmlns:a16="http://schemas.microsoft.com/office/drawing/2014/main" id="{51781712-9D58-4CF3-9C85-73E5DF4D7D2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5942" y="3360262"/>
                      <a:ext cx="1229042" cy="46724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Raw Data in CSV Format</a:t>
                      </a:r>
                    </a:p>
                  </p:txBody>
                </p:sp>
                <p:grpSp>
                  <p:nvGrpSpPr>
                    <p:cNvPr id="36" name="Group 35">
                      <a:extLst>
                        <a:ext uri="{FF2B5EF4-FFF2-40B4-BE49-F238E27FC236}">
                          <a16:creationId xmlns:a16="http://schemas.microsoft.com/office/drawing/2014/main" id="{2D1B45EF-C550-8072-DAAB-703FD5A715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9942" y="3886717"/>
                      <a:ext cx="1173396" cy="1329013"/>
                      <a:chOff x="669942" y="3886717"/>
                      <a:chExt cx="1173396" cy="1329013"/>
                    </a:xfrm>
                  </p:grpSpPr>
                  <p:sp>
                    <p:nvSpPr>
                      <p:cNvPr id="26" name="Rectangle 25">
                        <a:extLst>
                          <a:ext uri="{FF2B5EF4-FFF2-40B4-BE49-F238E27FC236}">
                            <a16:creationId xmlns:a16="http://schemas.microsoft.com/office/drawing/2014/main" id="{5AC3697F-6982-D642-1793-F336AC767421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69942" y="3886717"/>
                        <a:ext cx="1157396" cy="132901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27" name="TextBox 26">
                        <a:extLst>
                          <a:ext uri="{FF2B5EF4-FFF2-40B4-BE49-F238E27FC236}">
                            <a16:creationId xmlns:a16="http://schemas.microsoft.com/office/drawing/2014/main" id="{3A8E8C6A-580A-3B5A-5FB7-D230A786FAD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85942" y="3886717"/>
                        <a:ext cx="1157396" cy="132901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pPr marL="0" marR="0" indent="0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r>
                          <a:rPr kumimoji="1" lang="en-US" sz="1200" b="1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2"/>
                            </a:solidFill>
                            <a:effectLst/>
                            <a:latin typeface="+mn-lt"/>
                            <a:ea typeface="+mn-ea"/>
                          </a:rPr>
                          <a:t>Features:</a:t>
                        </a:r>
                      </a:p>
                      <a:p>
                        <a:pPr marL="0" marR="0" indent="0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Title, Release Year, Genre, Platform, Sales by Region, User &amp; Critic Scores, Rating, etc.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83F8A149-CFD5-32A9-8494-E3326E3E7483}"/>
              </a:ext>
            </a:extLst>
          </p:cNvPr>
          <p:cNvGrpSpPr/>
          <p:nvPr/>
        </p:nvGrpSpPr>
        <p:grpSpPr>
          <a:xfrm>
            <a:off x="6072781" y="1767091"/>
            <a:ext cx="3440956" cy="2019946"/>
            <a:chOff x="5996047" y="1818669"/>
            <a:chExt cx="3657268" cy="2019946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3A9D100-845F-E60F-A030-1FC58E1E74A0}"/>
                </a:ext>
              </a:extLst>
            </p:cNvPr>
            <p:cNvGrpSpPr/>
            <p:nvPr/>
          </p:nvGrpSpPr>
          <p:grpSpPr>
            <a:xfrm>
              <a:off x="5996049" y="1818669"/>
              <a:ext cx="3649061" cy="467239"/>
              <a:chOff x="5996049" y="1818669"/>
              <a:chExt cx="3649061" cy="467239"/>
            </a:xfrm>
          </p:grpSpPr>
          <p:pic>
            <p:nvPicPr>
              <p:cNvPr id="99" name="Graphic 98" descr="Badge 1 outline">
                <a:extLst>
                  <a:ext uri="{FF2B5EF4-FFF2-40B4-BE49-F238E27FC236}">
                    <a16:creationId xmlns:a16="http://schemas.microsoft.com/office/drawing/2014/main" id="{5DB24259-510C-53D0-D3A8-91CF3AF091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996049" y="1869993"/>
                <a:ext cx="189105" cy="221149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F95C08DC-A326-EC4E-C19A-2AD7B5F18690}"/>
                  </a:ext>
                </a:extLst>
              </p:cNvPr>
              <p:cNvSpPr txBox="1"/>
              <p:nvPr/>
            </p:nvSpPr>
            <p:spPr>
              <a:xfrm>
                <a:off x="6286499" y="1818669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Sourcing dataset from Kaggle that met the requirements of the project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3F40AA9D-7224-B4F8-8B84-9BF8FE1B5345}"/>
                </a:ext>
              </a:extLst>
            </p:cNvPr>
            <p:cNvGrpSpPr/>
            <p:nvPr/>
          </p:nvGrpSpPr>
          <p:grpSpPr>
            <a:xfrm>
              <a:off x="5996049" y="3371376"/>
              <a:ext cx="3649061" cy="467239"/>
              <a:chOff x="5996049" y="3371376"/>
              <a:chExt cx="3649061" cy="467239"/>
            </a:xfrm>
          </p:grpSpPr>
          <p:pic>
            <p:nvPicPr>
              <p:cNvPr id="97" name="Graphic 96" descr="Badge 4 outline">
                <a:extLst>
                  <a:ext uri="{FF2B5EF4-FFF2-40B4-BE49-F238E27FC236}">
                    <a16:creationId xmlns:a16="http://schemas.microsoft.com/office/drawing/2014/main" id="{7DB99372-2B7D-273F-6C58-D8C3A0A756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996049" y="3410380"/>
                <a:ext cx="189105" cy="221149"/>
              </a:xfrm>
              <a:prstGeom prst="rect">
                <a:avLst/>
              </a:prstGeom>
            </p:spPr>
          </p:pic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FDA39829-B064-0DA8-9EF5-6C17E8DF794F}"/>
                  </a:ext>
                </a:extLst>
              </p:cNvPr>
              <p:cNvSpPr txBox="1"/>
              <p:nvPr/>
            </p:nvSpPr>
            <p:spPr>
              <a:xfrm>
                <a:off x="6286499" y="3371376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lang="en-US" sz="1400">
                    <a:latin typeface="+mn-lt"/>
                    <a:ea typeface="+mn-ea"/>
                  </a:rPr>
                  <a:t>Getting clean data for </a:t>
                </a:r>
                <a:r>
                  <a:rPr kumimoji="1" lang="en-US" sz="1400">
                    <a:latin typeface="+mn-lt"/>
                    <a:ea typeface="+mn-ea"/>
                  </a:rPr>
                  <a:t>model development</a:t>
                </a: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E1304D27-7FFC-450A-52AB-3E5162A39D76}"/>
                </a:ext>
              </a:extLst>
            </p:cNvPr>
            <p:cNvGrpSpPr/>
            <p:nvPr/>
          </p:nvGrpSpPr>
          <p:grpSpPr>
            <a:xfrm>
              <a:off x="5996047" y="2853807"/>
              <a:ext cx="3649063" cy="467239"/>
              <a:chOff x="5996047" y="2853807"/>
              <a:chExt cx="3649063" cy="467239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2FEEFF2B-50FF-2F80-8162-484D28890FBB}"/>
                  </a:ext>
                </a:extLst>
              </p:cNvPr>
              <p:cNvSpPr txBox="1"/>
              <p:nvPr/>
            </p:nvSpPr>
            <p:spPr>
              <a:xfrm>
                <a:off x="6286499" y="2853807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Conducting exploratory </a:t>
                </a:r>
                <a:r>
                  <a:rPr lang="en-US" sz="1400">
                    <a:latin typeface="+mn-lt"/>
                    <a:ea typeface="+mn-ea"/>
                  </a:rPr>
                  <a:t>d</a:t>
                </a:r>
                <a:r>
                  <a:rPr kumimoji="1" lang="en-US" sz="1400">
                    <a:latin typeface="+mn-lt"/>
                    <a:ea typeface="+mn-ea"/>
                  </a:rPr>
                  <a:t>ata </a:t>
                </a:r>
                <a:r>
                  <a:rPr lang="en-US" sz="1400">
                    <a:latin typeface="+mn-lt"/>
                    <a:ea typeface="+mn-ea"/>
                  </a:rPr>
                  <a:t>a</a:t>
                </a:r>
                <a:r>
                  <a:rPr kumimoji="1" lang="en-US" sz="1400">
                    <a:latin typeface="+mn-lt"/>
                    <a:ea typeface="+mn-ea"/>
                  </a:rPr>
                  <a:t>nalysis and data </a:t>
                </a:r>
                <a:r>
                  <a:rPr lang="en-US" sz="1400">
                    <a:latin typeface="+mn-lt"/>
                    <a:ea typeface="+mn-ea"/>
                  </a:rPr>
                  <a:t>p</a:t>
                </a:r>
                <a:r>
                  <a:rPr kumimoji="1" lang="en-US" sz="1400">
                    <a:latin typeface="+mn-lt"/>
                    <a:ea typeface="+mn-ea"/>
                  </a:rPr>
                  <a:t>reprocessing  </a:t>
                </a:r>
              </a:p>
            </p:txBody>
          </p:sp>
          <p:pic>
            <p:nvPicPr>
              <p:cNvPr id="76" name="Graphic 75" descr="Badge 3 outline">
                <a:extLst>
                  <a:ext uri="{FF2B5EF4-FFF2-40B4-BE49-F238E27FC236}">
                    <a16:creationId xmlns:a16="http://schemas.microsoft.com/office/drawing/2014/main" id="{C87DF238-C270-CF2C-937C-2E05F1622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6047" y="2893423"/>
                <a:ext cx="189105" cy="221149"/>
              </a:xfrm>
              <a:prstGeom prst="rect">
                <a:avLst/>
              </a:prstGeom>
            </p:spPr>
          </p:pic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06EDB2DA-CC49-A8EB-DD38-C92E6737DD6F}"/>
                </a:ext>
              </a:extLst>
            </p:cNvPr>
            <p:cNvGrpSpPr/>
            <p:nvPr/>
          </p:nvGrpSpPr>
          <p:grpSpPr>
            <a:xfrm>
              <a:off x="5996047" y="2336238"/>
              <a:ext cx="3657268" cy="467239"/>
              <a:chOff x="5996047" y="2336238"/>
              <a:chExt cx="3657268" cy="467239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BE2350A-D31C-596C-4591-3AAD6D5AE7AC}"/>
                  </a:ext>
                </a:extLst>
              </p:cNvPr>
              <p:cNvSpPr txBox="1"/>
              <p:nvPr/>
            </p:nvSpPr>
            <p:spPr>
              <a:xfrm>
                <a:off x="6294704" y="2336238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Loading CSV data file into Python using Pandas</a:t>
                </a:r>
              </a:p>
            </p:txBody>
          </p:sp>
          <p:pic>
            <p:nvPicPr>
              <p:cNvPr id="77" name="Graphic 76" descr="Badge outline">
                <a:extLst>
                  <a:ext uri="{FF2B5EF4-FFF2-40B4-BE49-F238E27FC236}">
                    <a16:creationId xmlns:a16="http://schemas.microsoft.com/office/drawing/2014/main" id="{E041BF19-F61A-6106-EC19-E504EE001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996047" y="2385265"/>
                <a:ext cx="189105" cy="221149"/>
              </a:xfrm>
              <a:prstGeom prst="rect">
                <a:avLst/>
              </a:prstGeom>
            </p:spPr>
          </p:pic>
        </p:grp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D81F4F70-42AD-DAD4-EAC9-0CD75EC2A2D6}"/>
              </a:ext>
            </a:extLst>
          </p:cNvPr>
          <p:cNvSpPr txBox="1"/>
          <p:nvPr/>
        </p:nvSpPr>
        <p:spPr>
          <a:xfrm>
            <a:off x="6069256" y="4013869"/>
            <a:ext cx="3436554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Acquiring dataset with relevant features to answer the key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Handling missing data from the dataset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E86FAA1-DEF2-6525-9D8F-B29E447E1B28}"/>
              </a:ext>
            </a:extLst>
          </p:cNvPr>
          <p:cNvSpPr/>
          <p:nvPr/>
        </p:nvSpPr>
        <p:spPr bwMode="auto">
          <a:xfrm>
            <a:off x="5538485" y="1749775"/>
            <a:ext cx="452061" cy="206705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scrip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6A40630-DE55-85CC-B060-6E2CDD221899}"/>
              </a:ext>
            </a:extLst>
          </p:cNvPr>
          <p:cNvCxnSpPr/>
          <p:nvPr/>
        </p:nvCxnSpPr>
        <p:spPr bwMode="auto">
          <a:xfrm flipH="1" flipV="1">
            <a:off x="5546372" y="3899405"/>
            <a:ext cx="4056287" cy="4774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0B239E0-F60D-41BD-9027-9CBB147320CA}"/>
              </a:ext>
            </a:extLst>
          </p:cNvPr>
          <p:cNvSpPr/>
          <p:nvPr/>
        </p:nvSpPr>
        <p:spPr bwMode="auto">
          <a:xfrm>
            <a:off x="5538485" y="3987734"/>
            <a:ext cx="452061" cy="98235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00AAA09-85FE-BBDD-6F28-0F249686B04C}"/>
              </a:ext>
            </a:extLst>
          </p:cNvPr>
          <p:cNvSpPr/>
          <p:nvPr/>
        </p:nvSpPr>
        <p:spPr bwMode="auto">
          <a:xfrm>
            <a:off x="5546372" y="5140991"/>
            <a:ext cx="452061" cy="101622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C703441-B1EC-442D-46E5-E44B686BFDF5}"/>
              </a:ext>
            </a:extLst>
          </p:cNvPr>
          <p:cNvSpPr txBox="1"/>
          <p:nvPr/>
        </p:nvSpPr>
        <p:spPr>
          <a:xfrm>
            <a:off x="6069256" y="5150651"/>
            <a:ext cx="3436554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Dropped unnecessary records with missing val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Replaced </a:t>
            </a:r>
            <a:r>
              <a:rPr kumimoji="1" lang="en-US" sz="1400" i="1">
                <a:latin typeface="+mn-lt"/>
                <a:ea typeface="+mn-ea"/>
              </a:rPr>
              <a:t>null </a:t>
            </a:r>
            <a:r>
              <a:rPr kumimoji="1" lang="en-US" sz="1400">
                <a:latin typeface="+mn-lt"/>
                <a:ea typeface="+mn-ea"/>
              </a:rPr>
              <a:t>values with the imputed data from the respective columns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6617E30-D9D0-21A4-0B2B-277BB33F8537}"/>
              </a:ext>
            </a:extLst>
          </p:cNvPr>
          <p:cNvCxnSpPr/>
          <p:nvPr/>
        </p:nvCxnSpPr>
        <p:spPr bwMode="auto">
          <a:xfrm flipH="1">
            <a:off x="5546372" y="5055539"/>
            <a:ext cx="4056287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08453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r.6">
  <a:themeElements>
    <a:clrScheme name="NSP（パワポ）">
      <a:dk1>
        <a:srgbClr val="4A4A4A"/>
      </a:dk1>
      <a:lt1>
        <a:srgbClr val="FFFFFF"/>
      </a:lt1>
      <a:dk2>
        <a:srgbClr val="202C5C"/>
      </a:dk2>
      <a:lt2>
        <a:srgbClr val="D8D8D8"/>
      </a:lt2>
      <a:accent1>
        <a:srgbClr val="E2F1FA"/>
      </a:accent1>
      <a:accent2>
        <a:srgbClr val="FFA29D"/>
      </a:accent2>
      <a:accent3>
        <a:srgbClr val="FFE5E5"/>
      </a:accent3>
      <a:accent4>
        <a:srgbClr val="4CA198"/>
      </a:accent4>
      <a:accent5>
        <a:srgbClr val="FED292"/>
      </a:accent5>
      <a:accent6>
        <a:srgbClr val="FFF659"/>
      </a:accent6>
      <a:hlink>
        <a:srgbClr val="949494"/>
      </a:hlink>
      <a:folHlink>
        <a:srgbClr val="4D80DD"/>
      </a:folHlink>
    </a:clrScheme>
    <a:fontScheme name="MeiryoUI+SegoeUI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36000" tIns="36000" rIns="36000" bIns="0" numCol="1" rtlCol="0" anchor="ctr" anchorCtr="1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none" lIns="36000" tIns="36000" rIns="36000" bIns="0" rtlCol="0">
        <a:spAutoFit/>
      </a:bodyPr>
      <a:lstStyle>
        <a:defPPr>
          <a:defRPr kumimoji="1" sz="140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Format（日）ver.6.pptx[読み取り専用]" id="{7FFEA576-6885-4989-B190-EB001D19C483}" vid="{8761501B-10DF-4685-9E7B-300B1BBB7122}"/>
    </a:ext>
  </a:ext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webextensions/webextension1.xml><?xml version="1.0" encoding="utf-8"?>
<we:webextension xmlns:we="http://schemas.microsoft.com/office/webextensions/webextension/2010/11" id="{EC3CBD6D-19B8-4A24-831A-0DBA16BE8EFC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ZbW/bNhD+K4W+eAOMgZIsycq3JHWCbG0WJGuKYQiKE3l02NCiQdFuvMD/fSQl5W12nAD1ZmHzJ4mkj889vHvIE+8CJqqphMUpTDDYCw6UupmAvnkXBv2gfNrGozwaJIOEpnFEkCaDPAM7Sk2NUGUV7N0FBvQYzaWoZiCdQdv4RwCMJ0B4SkmaZmHOByHjwVU/ACnPYOzGcJAV9oMp6kqVIMWfWJuwXUbPcNkP8HYqlQY30YUBg26yuR1u3y3A8KfY4gBqxBwvkJq69RynSpv2vR9U9ZMH+rTPGfMTHqrSgCitYde2Erht50KaZkixGN1OtfXS+r6YOrIOLbqx0oKCDDxujVXVTHKo5Gzin0ZP2i/UTFM8R299VBphFtbSpWCovhw7Gr9cgLRELS0TZ1pZnvyA3xH0uwNR1h3X6tuhRjs7C/bI0vJbLH7zkCy2ZiGPPPAYkzRPaJECz6I4LOJhhhZqg390S+WMuYbaTQfpsmU66gdHWk28zSZg5nbkC5D7QQ3CI/p8jboGZIlmouX+VJm/c3LyjKeq+d8rGKxfPLYXGLN4LkHOfIxayx+EddaumXPXNdvR5UxKN/Bq6X5Xzzge+JZKlGPZhOtDHNU+B5UU1DJoU6T4akPNR8wEbYq4BwYGvE/TGp/Aul8x340+rlbi6h1AJWgvaGAt29C3jn59FOP33m018Bw5/YAkWcIxHOKAhISmEKcYb0yVfTaHkloun+fJ/niscQxtfIy2mUTHUhUgH/UdzcpGFciKtNq05BQ0e7Lg9g9KM9QHC+/6e6Fb0bHJNNpRt+uoSvI0z2hCBpQNojRKkgENu7GoP5+9dkH7uwX8dL+jwEefOgr8V2M3pe+W/kyVM3N4Ddp0QQTWp0ktAFkY0dhmf0p4XqRFMSyGtCsHoB0Ls84mdmeltLOK9LYTyY6Bf5ucri9SMHI1yjAtIEZETnLG2f9FytuLlJahByQf0UBde9w9ipPt1wl9ezam18g88BODk3pKa8PZE02lUlH77xNWR+ZkClpUbZy2b7+I0kVPP/iA3Gx9VzkX42uzphBruF967+au8SNM3QBiO384kFDe/FiXSBsPDlKUeGGA3iCr3bH+FuotJ4nw+Ulii7Q4f1fWnM3mv/hnqk6aZDGBbBhmRZaGcYyMRbt0PjnG0krJzmv2G0vg9aIdhjlPaRJlfBjnQGhI8uw/ItrtUm8W7F5vV+X6kQ8dkeqHBHtJpnu9tSL9SnWmtSR3pa7b9HHnXxDv+9jywh0WPE7BVZY0T4Y8y5B35MvSe5yjdG/PeI2+y7dCZ4QBspAPeR4nhBGSFRDm3eDmTILhSk+2Rg0BSggvOGFZNEhIWhSw+UJmJ6jxW9p2aPHMrLpgUDNTTYHiGZS44qLBkgElQ9ZuLGvE09/N3V81LJd/AQqvQx0xHAAA&quot;"/>
    <we:property name="creatorSessionId" value="&quot;d0bd5e29-9095-400e-8003-8e4c88bca2cf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ZXW/rNgz9Kxd+yQYYgx3Hdty3tkuLrrcfaLcOw1AUtESnulUsQ1ayZkX++yjZvv1Y0rTAuiXb8mRTMnV4RB6LzoPHRV1JmJ/CBL0db0+puwnou0+h53tlazs7Oz7ZvTi+Od09GZFZVUaosvZ2HjwDeozmStRTkNYDGX+99j2Q8hzG9q4AWaPvVahrVYIUv2MzmYaMnuLC9/C+kkqDdXlpwKB1O6PpdE9rh99FtCIwI2Z4icw01guslDbdve/VzZWD9HzMOnML7qvSgCjJsbUBL2IIioQFSZKGWTEIeWHthZCmnZLPR/eVpngoynlledgndGOlBQPpOdwa67pdZF/J6cRdjZ7ZL9VUM7xA531UGmHm5OlKcFQ3h5awm0uQRNSCmDjXinhyE35B0J/2RNkM3Krf9jXS6tzbCRbEbz7/0UEibO0eHTjgEcZJFrM8gSLtR2EeDVMkqC3+0T2TU24NTZgW0lXHdN/3DrSaOJ9tLsxo5iuQfa8B4RD9fIu6AUREc9Fxf6rMnzk5esFT3T73BgabG4ftFcYIzxXIqctG8vxZULC0ZzZca6bZ5VRKO/F6YX/XLzgeOEstyrFs0/Uxj5qYvVoKRgxSMeRfKNVcxkyQisFecDDgYqoafAKbccXdMLq8Woqrtwe1YD2vhbXoUp8C/fIkx79G96GJZ8nxvSBO4wLDIQ6CMGAJRAlGa0tll8+gZMTlyzrZHY81jqHLj9FHFtGhVDnIJ2MH07JVhWBJWa3bcgaaP9twekBpjnpv7kL/XuhOdKiYRhsadpNVcZZkKYuDAeODftKP4wELt2NTfzh/64b6mwX8dHdLgY9+2lLgZ4ZeSn9Z+XNVTs3+LWizDSKwukwaAUjDPouo+pOgyPIkz4f5kG3LAWjD0mxrC3trpXRrFel9J5INA/8+OV3dpGDf9ijDJIcIEYsg4wX/v0l5f5PSMfSI5AQNNL3Hw5M8+fg+waezMbtF7oAfGZw0S5IP60+0nUrN6Okj3mTmpAIt6i5Pu7tjUdrs8b3PWJgPf6tciPGtWdGItdwvXHQzazyByk4IaPCbPQnl3bdNi7T24CBFiZcG2B3yJhyKN1fvOUmEL08SH0iLjXdpz9m+/Od/T9fJ4jQKIB2GaZ4mYRQh5/1NOp8cYklSsvGa/c4WeLVoh2FWJCzup8UwyiBgYZCl/xHR7rZ6vWD3epsq109i2BKpfiyw12S611sp0m9UZ9ZI8rb0des+7vwD4v01txrhTnDQz+OMBxkbwCDjCcBa4d4IrXTa9JzS/r/4M+HycBeNei3/rq2mpq6A4TmUuOT7Nm0dlBx5p2cratb+7+O5NYg3kct138S7+S22PwAC9USLshoAAA==&quot;"/>
    <we:property name="isFiltersActionButtonVisible" value="true"/>
    <we:property name="isFooterCollapsed" value="true"/>
    <we:property name="pageDisplayName" value="&quot;Sales Overview&quot;"/>
    <we:property name="pageName" value="&quot;ReportSection&quot;"/>
    <we:property name="pptInsertionSessionID" value="&quot;EB54D884-D238-403D-A9E6-4D3AC271F0E1&quot;"/>
    <we:property name="reportEmbeddedTime" value="&quot;2023-04-09T20:31:23.455Z&quot;"/>
    <we:property name="reportName" value="&quot;games&quot;"/>
    <we:property name="reportState" value="&quot;CONNECTED&quot;"/>
    <we:property name="reportUrl" value="&quot;/groups/me/reports/2a97cd88-a5e0-4fde-854c-1cd20fdd6cd5/ReportSection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596E1D94-BDF4-4BA8-B6FE-ECB78C0D7705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aW1PbRhT+Kxm9pJ1RO5JlSzJv4DoZ2oRQTOh0Ogxz9iJbyVqrriQHh/F/79mVZMCAMR4EIsVP3tvZ79zPHvvCYnGWCpgfwJRbO9aelF+noL6+cS3bSq7PdaNunzAS0cBzgBAncCjFXTLNY5lk1s6FlYMa8/wkzgoQmiBO/nNqWyDEIYz1KAKRcdtKucpkAiL+zsvNuJSrgi9si5+nQirQJEc55FyTneF2HCMU91cPbwSaxzM+4jQvZ494KlVejR2XdLt+Bzy3ByH3/KBHOJ7JylUD8/79+lIDbCCTHOIEAeg5v0dIhxNG3X7f93qBQ8JQz0exyKstZD48TxXyjdKYp1p8A+RiLFVMQViGP8Wzkp0LayBFMTXfhtfmR7JQlB/xyCwleZzPkdJJzLg8e68FezYCgQJdoMQOlUR5mg3veaK4mZzIbwPF8WZm7TgLewlml80goTi7imR3PFZ8DHk1HDYJ09ianntXJJUOO+tAP6EE/+ag3uzFSXaLFNGSyfzYQELtVs7xzqge/Ig5jDng9im4NOQk1IZa4R+eU1EwbYWloWhIJ7VNd1AMSk4NzcoJZ7hzDWTbKkEYRH9NuCoBoamyuNbfgcxvyuSTufkDj8za/orUsorKBvIsBwbpGvkhuhMQhYkCSPlDrAUlDPN6GncnhRB646mmchSPJ80Bq13jflBv31aQzOd0xQy6tRIvUXzkOTDIQRPh26DewsEbNXyUEQU64cyIZD/n05IZpKHpxbwcZhRP77PSC6cpqDirfbIe/REn2nXspdE1FvCW1nOXRheGr5me+gipXnZwqZRl+xi7HofWMVf50E32XFz8aU9A8vVnrdPSlLM4GYsq6V5muTKeWGk8k/kxEKFDlSRfMEHqnIbHpGJc7c2NdH6LVZ15MXYNW5ZFtBTK+gC3frma9OW3Rl0S7y0pN3LLNfdc6EUeUhfckEWeR10Gfi8i/mst8mCYA4V+T89GVKpVa3JbD/5zxtULhT78fGX+ErjTeuC/H75Q4Ae7mwJfU+h2AhL4bkRct9vtBH7khr7bvkK3RRVkO+vH/1eFt0ntI/CRPxBFhqQ5K3lAJokcTEDlL6EcWp/I7iyLqopg3qi1mYKlS9yu57OuHzDmeS44bnR/8+RYpgcbh5OsIP8WHHlZ1cOoXsDvf9ZfHiswjbhAeT5ihLFrFFHMBbP0HZ+ezODWoBOSgLgrh2iUqCxrp2eUXcqno3Pg48X6psN6+fS58+jSvJaB/ZkL6Jb0xVpW56y30wfUOiQkAfiRF/QJBR96Pu2F7at1nript2nn6THqqKq1Yd+e8ke6iZ+ZUsve5vyuMYrtz48mUuLs9gSOpOC/HAqYY11SV4xNt0G37s+2sJjdxix/5FL5EXqGzrWe4Q/TGbVbgXzDp8xqWFivJdv0ea+eeVXcMynuSkLYRGfV9ld1PZO6LvP/Jtoqd78q67l8a1nsbeRaZveGnR+60vV5QMPHXX1/N6jWZ+ng3PzZqRP5hIbE74V98HynQ/x+R9Nsy89OW/6Bw+M9v9+jxIco6Hgu8cKAt++t17onwY0Hwf3ulomYogSvOpg15WpsGi/lywFvTkt8JsTiumS8flDcFSH2IItpHSA0i7c6y5K7xl3FeMttPMoiz1Kg/BASfguvyCMkjLN7+DX/pFtyu1j8B1wu44fJJwAA&quot;"/>
    <we:property name="creatorSessionId" value="&quot;76a6f2c4-f458-4be6-a446-bcf10c0dc22c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aW0/jRhT+Kyu/bCu5VRwnjsMbpNkVYrksoVRVhdCZi5NZJh53bGdJEf+9Z8Z2gAAhRBjcLTxlbme+cz9zzJXDRJpImB/AlDtbzo5SF1PQFx88x3Xicu7wcG9/+3jv/GB7f4jTKsmEilNn68rJQI95dirSHKShgJN/nbkOSHkEYzOKQKbcdRKuUxWDFP/wYjMuZTrn167DLxOpNBiSowwybsjOcDuO8W7vVx9vBJqJGR9xmhWzxzxROivHLY90OkEbfK8LIfeDXpdwPJMWqxbm0/vNpRbYQMUZiBgBmLmgS0ibE0a9fj/wu70WCUMzHwmZlVvIfHiZaOQbpTFPjLwGyMVYaUFBOpY/zdOCnStnoGQ+tb+Gd+ZHKteUH/PILsWZyOZI6VQwrs4/G8Gej0CiQK9RYkdaoTzths881txOTtT3geZ4M3O2WtfuAsw2m0FMcXYZyfZ4rPkYsnI4rBOmNS4z9ymPSx22V4F+RQn+yUF/2BFx+oAU0ZLJ/MRCQu2W3vDJqh6CiLUYa4HXp+DRkJPQGGqJf3hJZc6MFRaGYiCdVjbdRjFoNbU0S6+b4c4VkF2nAGER/THhugCEpspEpb8Dld2XyaG9+QuP7NruktTSksoa8iwGFukK+SG6U5C5jQJI+YswgpKWeTONu+NcSrPxzFA5FuNJfcAq13ga1MePJST7d7ZkBp1KiTco9nkGDDIwRPgmqDdw8FoNH2VEgU44syLZzfi0YAZpGHqCF8OU4uldVnjhNAEt0sonq9GeiI3ruAujqy3gLaznMY1eW75mZmofErPcwqVCls1j7G4cWsVc6UP32fNw8acdCfHFz0anhSmnIh7LMuneZLkinjiJmKnsBIg0oUqRb5ggTU7DY0ozrnfmVjq/CV1lXoxdw4ZlESOFoj7Ard9uJ331vVaXxHsLyrXccsc9r80iD6kHXsgi36ceg6AbkeC9Fnk2zIFGv6fnI6r0sjV5jQf/e8r1utBXVC/tHukFXkQ8r9Np94LICwOvedVLg8qCZhYF/6+0vU5Ck/hyG8g8RdKcFTwgk0QNJqCz/0KOWx2dHs11ZZif12ptNgt1iNfxA9YJeoz5vgctL3r6RXyikoO1w0mak79zjrws62FULeDvr9WPlwpMIy5Rni8YYdwKRSS4ZI654/DVDG4FOqkIyFuavjGwVmFgqCxnq2uVXcinbbLgy8X6usN6Uc8+enRhXovA/sZVUUOaHQ2rdFbb6TNqHRKSHgSR3+sTCgF0A9oNm1frvHKnZt12wkvUUeV71X045Y9MZza1pZa7yfltaxSbnx9NlMLZzQkcK8l/OZIwx7qkqhjr7m1t3HRrYDG7iVn+yKXyCzSCWncaQT9Mu8ttBPI1nzLLYWG1llzbvLt95l1xb6S4WwlhHZ2V29/V9Ubqusn/62ir2P2urLfyrUWxt5Zr2d1rdn7oUtfnGQ0fb/n9XaNa36SDc/9bQjsKCA1J0A374AetNgn6bUOzKd8SNvwq7/Nu0O9SEkDUa/se8cMeb95br3FPgnsPgqfdLZWCogRvO5gz5XpsGy/FywFvTgp8NsTiumK8elA8FiF2IBW0ChCGxQedZcFd7a5iveUhHlWepQlQfgQxf4BX5BFixtkT/Jr/gXLsHShdUfat1thfgvsXXbCv6L4lAAA=&quot;"/>
    <we:property name="isFiltersActionButtonVisible" value="true"/>
    <we:property name="isFooterCollapsed" value="true"/>
    <we:property name="pageDisplayName" value="&quot;Genre&quot;"/>
    <we:property name="pageName" value="&quot;ReportSection01b4462a315a8e3675be&quot;"/>
    <we:property name="pptInsertionSessionID" value="&quot;EB54D884-D238-403D-A9E6-4D3AC271F0E1&quot;"/>
    <we:property name="reportEmbeddedTime" value="&quot;2023-04-09T20:34:01.838Z&quot;"/>
    <we:property name="reportName" value="&quot;games&quot;"/>
    <we:property name="reportState" value="&quot;CONNECTED&quot;"/>
    <we:property name="reportUrl" value="&quot;/groups/me/reports/2a97cd88-a5e0-4fde-854c-1cd20fdd6cd5/ReportSection01b4462a315a8e3675be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076EACAB-424A-4221-96A9-4AF316620BFD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ZbW/bNhD+K4W+tAOMQW+2rHxL3KTI1qZZ0qUbhqA4kSebDS1qFOXGC/zfd6TkvHix89IkSwr7k0ge7x4+96KjfOZxUZUSpnswRm/D21LqZAz65FXgdbzi6lzcZQFCEgf9MKJn30/8kKRUaYQqKm/jzDOgh2iORFWDtApp8q/jjgdS7sPQjnKQFXa8EnWlCpDiH2yEacnoGmcdD09LqTRYlYcGDFq1ExKnMUEJfo7IIjAjJniIzDSzB1gqbdpx2M0x42kcRl2OkR/wBFPaUzWrDubN8taoAzZQhQFREAA7x2OeRxAFKeuzXtZFvw+hnc+FNK1INt0+LTWdm9iYlpa+T6rcIwCNjBU5mh8n7Hg7Wo2dcMt/VWd/16intMHqwaqRPPMO5wv0/Nv8YZWmiVVRGGFI0jsSHNWXd9YlXw5Bkis63icHz5+Rgw5REhlu90DJeuwsLthXtWZ4gPnFwBmZkc/2tSKPOkP7Ekyu9Nij6RZILlByz5r5qDnqramz81bouf/CxbNuDocah2Da4dXF7wT4TqoMZEuCXdupixaHP5tZlOQvbyOwgzlH4axzL1o/j1Bjy2rBxfw8uwvoq4cl3p0BMonLd59H2cz+jpu0uyvHK1hYjq3jjdS3gUbKbG5Z6pynySafQMFodhHM90fD7ZGujo5F8Ja4ShRD2Vaxi7LRBIEnqXJQFWMnyBugAzXO1GAE2tjCmX2lFLBVg/SoJ8uNh2LDxllTiWnL10vldUD8DJWe3j6s7xVKxy5DWdZjaR5mPEqTbr8X98MgWpfkdUlel+QfpCS/xQlKO1oIjXAV8rYECUZF+ZGZ/BNBv9oSRXUNleT2bNpEH4VT207vuKqDUZSkKQuJ3iDOwj4EXctzi3/7lMma461r1AOkwJ4y/+XkUfLiMmOE5whk7W4KpPm9oMM2L1I3TdJFLaUVPD5PjMscx3OGLpB8QAMcDFgleB/k9/M9nYQBGyF3wHcNjhuTpMPqE9gMK0a7d3kTiOMStKjmYTkf/SoKGz0d7z3m5tEj9kAMR87Kcu6bIjyxkx+gtAI+Lb7ZklCc/NS8iW9shUoxUaapgS+g81lRdJa2PQfq26ME2dXXSKP88aO5aa4C1u324zjGnJ5yP6fHdXO1bq7WzdUP0lw5J9+hr3oWoO92SX9m4Ld/f6HAf9l/ocD3Nh/se07FwNBL7doPONf2BH+4Uvf/Z7RtHJ7yq0wY9jCIGc96kIZRnEZRym5sHJ7/pS3Cbi/tMjpVnoRRkEX9BNeXtrtf2m6RaVIwYvByjnlj1EP3km9ud2S5bPC5uxWtK47zS9+SC83rLagEez3vA5al7fnpnqDHTngPWJzngc/8IAsTBHC3w5X0GDw1mTq9WoOstownPPbzJA27ST/upyFk8Y3aqhGUuKjLqbuOfVWbqgSG+1DgNV4g9qHgyG/whPsn8NwPs9m/oYRtDokcAAA=&quot;"/>
    <we:property name="creatorSessionId" value="&quot;10fde873-82be-4446-8b70-34fcbc5b337f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ZbW/bNhD+KwW/dAOMwZJsx8q32E2KIM3L7CLbMAQBRZ5sNrSoUZQbL/B/35GUktSzHSeNu66wP4nk6e655154gu8IF0Uu6eyMToDsk55SNxOqb94EpEGyau/8/OT0YHByfXZweojbKjdCZQXZvyOG6hGYS1GUVFoNuPnnVYNQKS/oyK5SKgtokBx0oTIqxd/ghfHI6BLmDQK3uVSaWpVDQw1YtVMUxzXaDn6J0CJlRkxhCMz43QHkSptqHbZTSHjcCqM2h6gZ8D2I8Z3CnzqYT8tbow5YX2WGigwB2D3e4mlEoyBmXdZJ2tDs0tDup0KaSiSZHd7mGv1GNma55eujys8QgJexIpe1O2GDHGk1ccIV4UWZ/FWCnuELVg8UXvKODOsDfP61flinaWpVZEYYlCSXgoO6fm9Dcj2kEkPRIB8dvOYcAzQEiWS4t/tKlhNnccG+KjWDAaQPC2dkjjG70Aoj6gxdSGpSpScEtysgqQDJiTVzrjno3szZeSd0Hb9w0deD0UjDiJpq+eXhVwJ8L1VCZUWCPTsqswpHcz63KDFeZD+wi5qjcN54Ea2/jUFDxWrGRe3P8QL64nWJdz7QRMLqt++zbG5/V77snsvxGhZWY2uQsfrc14CVzS1LjfsyOeBTmjHcXQTz9dmwOdL12bEI3hJXiGwkqy720DZ8EhCJnQO7GLsB7oH21SRR/THVxjbO5BOWgO0aqEd9s9p4LTZsnvlOjK98etRe+8jPSOnZ5mn9olS6chXKkg6L0zDhUbzX7nZa3TCIdi1515J3LfkHacnvYArSrhZSI1yHvGpBgmFT3jKTfwDVb3oiK5ZQiWFPZj77MJ2q+fnIdR2Ior04ZiHSG7SSsEuDtuW5wn94y2TJYeMe9QolcKbMvznZSl08ZgzxXFJZui8F1PxBoLP+InXbKJ2VUlrBq/vCeMxxq2boAckpGMqpoVYJvAT5y2KPnjDKxsAd8GMDE28SdVh9AvyyYPj2MfeJOMmpFkWdlvXqRGQ2exrkA6Rm6xk7EKOxs7Kae9+Ep3bzlOZWoImHP/UkzW5+9jfxk6NQLqbK+B74P5h81jSdlWPPQH3eSpJ9eY145dvPZj9cBazd7rZaLUjxKW2m+LgbrnbD1W64+kGGKxfkZ8xV3wXoV/5ILxg12KmWfpUvbfS/u/z978Nkb4Nv+akdhh0IWownHRqHUSuOopg9eRt8/5N4BO1O3GboVboXRkESdfdgN4k/fxLfoNKkYMjg4xojE9Aj17n9yI6Wc4/PDcx4rjjUk/yKKfVtjxaCva2b+6qyvfdu64OTq5ZlPqrSFDllcEEzWOIr+kgzDvwJf+0/JcTZQHZFdfFtIF+B+weEJEk05BkAAA==&quot;"/>
    <we:property name="isFiltersActionButtonVisible" value="true"/>
    <we:property name="isFooterCollapsed" value="true"/>
    <we:property name="pageDisplayName" value="&quot;Platform&quot;"/>
    <we:property name="pageName" value="&quot;ReportSection25febd94235de301d7e9&quot;"/>
    <we:property name="pptInsertionSessionID" value="&quot;4E8EBD2E-1184-4639-BDDB-4132A360046B&quot;"/>
    <we:property name="reportEmbeddedTime" value="&quot;2023-04-12T01:24:09.350Z&quot;"/>
    <we:property name="reportName" value="&quot;games&quot;"/>
    <we:property name="reportState" value="&quot;CONNECTED&quot;"/>
    <we:property name="reportUrl" value="&quot;/groups/1db7de31-6a79-46ef-bcdb-5d27f22c9ef0/reports/2a97cd88-a5e0-4fde-854c-1cd20fdd6cd5/ReportSection25febd94235de301d7e9&quot;"/>
  </we:properties>
  <we:bindings/>
  <we:snapshot xmlns:r="http://schemas.openxmlformats.org/officeDocument/2006/relationships" r:embed="rId1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D02CC2A1BB31429574CC73F1FCB2D9" ma:contentTypeVersion="4" ma:contentTypeDescription="Create a new document." ma:contentTypeScope="" ma:versionID="737b84f1db21616d9febbcd1d5371aae">
  <xsd:schema xmlns:xsd="http://www.w3.org/2001/XMLSchema" xmlns:xs="http://www.w3.org/2001/XMLSchema" xmlns:p="http://schemas.microsoft.com/office/2006/metadata/properties" xmlns:ns2="88c58ba3-fe06-41ad-816e-a9796b35cd80" targetNamespace="http://schemas.microsoft.com/office/2006/metadata/properties" ma:root="true" ma:fieldsID="f840fa0bd85b662317b501b8025ee1a3" ns2:_="">
    <xsd:import namespace="88c58ba3-fe06-41ad-816e-a9796b35cd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58ba3-fe06-41ad-816e-a9796b35cd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92EAACB-3B00-4754-831B-74B05002303B}">
  <ds:schemaRefs>
    <ds:schemaRef ds:uri="88c58ba3-fe06-41ad-816e-a9796b35cd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0CE112C-3B4D-4E46-939C-B6B2DF98AE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236BE3-7A63-4CEC-AFF6-637E81E97F2E}">
  <ds:schemaRefs>
    <ds:schemaRef ds:uri="88c58ba3-fe06-41ad-816e-a9796b35cd8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A4 Paper (210x297 mm)</PresentationFormat>
  <Slides>23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ver.6</vt:lpstr>
      <vt:lpstr>PowerPoint Presentation</vt:lpstr>
      <vt:lpstr>Case Background</vt:lpstr>
      <vt:lpstr>Project Breakdown</vt:lpstr>
      <vt:lpstr>Discussion on Project Details &amp; Design</vt:lpstr>
      <vt:lpstr>Data Analysis &amp; Visualization: Market Analysis (1/4)</vt:lpstr>
      <vt:lpstr>Data Analysis &amp; Visualization: : Market Analysis (2/4)</vt:lpstr>
      <vt:lpstr>Data Analysis &amp; Visualization: Market Analysis (3/4)</vt:lpstr>
      <vt:lpstr>Data Analysis &amp; Visualization: Market Analysis (4/4)</vt:lpstr>
      <vt:lpstr>Data Acquisition &amp; Exploration</vt:lpstr>
      <vt:lpstr>Exploratory Data Analysis &amp; Preprocessing (1/4)</vt:lpstr>
      <vt:lpstr>Exploratory Data Analysis &amp; Preprocessing (2/4)</vt:lpstr>
      <vt:lpstr>Exploratory Data Analysis &amp; Preprocessing (3/4)</vt:lpstr>
      <vt:lpstr>Exploratory Data Analysis &amp; Preprocessing (4/4)</vt:lpstr>
      <vt:lpstr>Model Creation: Recommendation Model (KNN)</vt:lpstr>
      <vt:lpstr>Model Creation: Recommendation Model (NN)</vt:lpstr>
      <vt:lpstr>Model Evaluation (KNN and NN Comparison)</vt:lpstr>
      <vt:lpstr>Video Game Recommendation System (Prototype)</vt:lpstr>
      <vt:lpstr>Video Game Recommendation System (Prototype)</vt:lpstr>
      <vt:lpstr>Video Game Recommendation System (Prototype)</vt:lpstr>
      <vt:lpstr>Video Game Recommendation System (Prototype)</vt:lpstr>
      <vt:lpstr>Conclusion</vt:lpstr>
      <vt:lpstr>Referen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D Abhishek Natani  Jobin Joseph  Miraj Sinya  Olivia Deguit  Roger Mais  Rutvick Rajnibhai Savaliya</dc:title>
  <dc:creator>miraj sinya</dc:creator>
  <cp:revision>1</cp:revision>
  <cp:lastPrinted>2019-10-08T05:49:51Z</cp:lastPrinted>
  <dcterms:created xsi:type="dcterms:W3CDTF">2019-04-26T10:21:06Z</dcterms:created>
  <dcterms:modified xsi:type="dcterms:W3CDTF">2023-04-20T03:0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D02CC2A1BB31429574CC73F1FCB2D9</vt:lpwstr>
  </property>
  <property fmtid="{D5CDD505-2E9C-101B-9397-08002B2CF9AE}" pid="3" name="_dlc_DocIdItemGuid">
    <vt:lpwstr>28e469ef-458a-472d-9833-24589934583c</vt:lpwstr>
  </property>
  <property fmtid="{D5CDD505-2E9C-101B-9397-08002B2CF9AE}" pid="4" name="MediaServiceImageTags">
    <vt:lpwstr/>
  </property>
</Properties>
</file>